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06" r:id="rId2"/>
    <p:sldId id="307" r:id="rId3"/>
    <p:sldId id="311" r:id="rId4"/>
    <p:sldId id="308" r:id="rId5"/>
    <p:sldId id="309" r:id="rId6"/>
    <p:sldId id="324" r:id="rId7"/>
    <p:sldId id="316" r:id="rId8"/>
    <p:sldId id="320" r:id="rId9"/>
    <p:sldId id="313" r:id="rId10"/>
    <p:sldId id="322" r:id="rId11"/>
    <p:sldId id="323" r:id="rId12"/>
    <p:sldId id="321" r:id="rId13"/>
    <p:sldId id="318" r:id="rId14"/>
    <p:sldId id="319" r:id="rId15"/>
    <p:sldId id="315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pos="3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86BC25"/>
    <a:srgbClr val="6E9E1F"/>
    <a:srgbClr val="A2E72E"/>
    <a:srgbClr val="F3BE21"/>
    <a:srgbClr val="7BA681"/>
    <a:srgbClr val="28402F"/>
    <a:srgbClr val="FF58D4"/>
    <a:srgbClr val="F4AD69"/>
    <a:srgbClr val="498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32" autoAdjust="0"/>
    <p:restoredTop sz="62090" autoAdjust="0"/>
  </p:normalViewPr>
  <p:slideViewPr>
    <p:cSldViewPr snapToGrid="0" showGuides="1">
      <p:cViewPr>
        <p:scale>
          <a:sx n="60" d="100"/>
          <a:sy n="60" d="100"/>
        </p:scale>
        <p:origin x="2392" y="376"/>
      </p:cViewPr>
      <p:guideLst>
        <p:guide pos="3840"/>
        <p:guide orient="horz" pos="2160"/>
        <p:guide pos="39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5/12/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5/12/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mmendation system is one of interesting applications in Data Science. In this project, I'm going to create a simplified recommendation system for Netflix movies and tv shows based on genres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8190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jority of Netflix content whether movies or TV-shows are rated TV-MA. This type of contents are for mature, adult audiences and therefore unsuitable for children. The second highest type of contents are for children that are 14 year-old and above. These are rated TV-14</a:t>
            </a:r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520306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nited States have highest rated content on the </a:t>
            </a:r>
            <a:r>
              <a:rPr lang="en-US" dirty="0" err="1"/>
              <a:t>netflix</a:t>
            </a:r>
            <a:r>
              <a:rPr lang="en-US" dirty="0"/>
              <a:t>.</a:t>
            </a:r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50133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ost popular director on Netflix with the most titles</a:t>
            </a:r>
          </a:p>
          <a:p>
            <a:r>
              <a:rPr lang="en-US" dirty="0"/>
              <a:t>Rajiv </a:t>
            </a:r>
            <a:r>
              <a:rPr lang="en-US" dirty="0" err="1"/>
              <a:t>Chilaka</a:t>
            </a:r>
            <a:r>
              <a:rPr lang="en-US" dirty="0"/>
              <a:t>  (Movie)</a:t>
            </a:r>
          </a:p>
          <a:p>
            <a:r>
              <a:rPr lang="en-US" dirty="0"/>
              <a:t>Alastair </a:t>
            </a:r>
            <a:r>
              <a:rPr lang="en-US" dirty="0" err="1"/>
              <a:t>Fothergill</a:t>
            </a:r>
            <a:r>
              <a:rPr lang="en-US" dirty="0"/>
              <a:t>  (TV Show)</a:t>
            </a:r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823881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 THE END, THE Model Looks good. The system recommends similar appropriate TV SHOWS  for the same TV SHOW BASED ON HISTORY, concerning similar genres. </a:t>
            </a:r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605846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get better result  more algorithm models will be applied in the second stag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</a:t>
            </a:r>
            <a:endParaRPr lang="en-S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llaborative filtering algorithm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re it will use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“User Behavior” for recommendi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2706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77360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an Exploratory Data Analysis (EDA) will be presented to understand and describe the data in a better way through interactive graphs. After that, a recommendation engine for Movies and TV shows on Netflix is demonstra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ualization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uld enabl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better understanding of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most content type on Netflix movies or TV shows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variety of Content by Rati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lso,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highest amount of content produced by countr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other aspect is to identify the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st popular director on Netflix with the most titl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on the another hand, Recommendation model, is proposed to find Movies and TV Shows users might like based in histor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9847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flix Main business is its subscription-based streaming service, which provide online streaming of a collection of films and television series, including those produced in-house.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flix use those predictions to make personal movie and tv shows recommendations based on each customer’s unique tastes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9838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I used is TV Shows and Movies listed on the Netflix dataset from Kaggle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43394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rtl="0"/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used dropna() to drop any row with null value.There are a total of 4,307 null values across the entire dataset with 2,634 missing points under "director", 825 under "cast", 831 under "country", 10 under "date_added", and 4 under "rating"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rtl="0"/>
            <a:endParaRPr lang="en-S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utation is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 as a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eatment method for missing valu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is project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filling it In this module,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used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illna function from Pandas for this imputation. Drop rows containing missing values. Can use the dropna function from Pandas</a:t>
            </a:r>
          </a:p>
          <a:p>
            <a:pPr lvl="0"/>
            <a:endParaRPr lang="en-S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missing values,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e "director", "cast", and "country" contain the majority of null values, we chose to treat each missing value is unavailable. The other two label "date_added" and "rating" contain an insignificant portion of the data so it drops from the dataset. Finally,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 more missing values in the data frame.</a:t>
            </a:r>
          </a:p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81880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rtl="0"/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this recommender system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used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ent-based Filtering techniqu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find the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ilarity between content that the user has already consumed and the recommend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</a:rPr>
              <a:t>Content-based Filtering is </a:t>
            </a:r>
            <a:r>
              <a:rPr lang="en-US" sz="1200" b="1" dirty="0">
                <a:solidFill>
                  <a:schemeClr val="tx2"/>
                </a:solidFill>
              </a:rPr>
              <a:t>a Machine Learning technique that uses similarities in features to make decisions</a:t>
            </a:r>
            <a:r>
              <a:rPr lang="en-US" sz="1200" dirty="0">
                <a:solidFill>
                  <a:schemeClr val="tx2"/>
                </a:solidFill>
              </a:rPr>
              <a:t>. This technique is often used in recommender systems, which are algorithms designed to advertise or recommend things to users based on knowledge accumulated about the user.</a:t>
            </a:r>
            <a:endParaRPr lang="en-SA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A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appled the The </a:t>
            </a:r>
            <a:r>
              <a:rPr lang="en-SA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arest neighbour algorithm model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culate the </a:t>
            </a:r>
            <a:r>
              <a:rPr lang="en-SA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distance” between the target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v show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nd every other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v show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bas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earest 5)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n it ranks its distances and returns the top K nearest neighbor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v show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the most similar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v show </a:t>
            </a:r>
            <a:r>
              <a:rPr lang="en-S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mmend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u="none" strike="noStrike" dirty="0">
              <a:solidFill>
                <a:schemeClr val="tx2"/>
              </a:solidFill>
              <a:effectLst/>
              <a:latin typeface="Google Sans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normalize the data by scaling each feature to a given range between zero and one min-max scaling.</a:t>
            </a:r>
            <a:endParaRPr lang="en-US" sz="2000" b="0" i="0" u="none" strike="noStrike" dirty="0">
              <a:solidFill>
                <a:schemeClr val="tx2"/>
              </a:solidFill>
              <a:effectLst/>
              <a:latin typeface="Google Sans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MinMaxScaler</a:t>
            </a:r>
            <a:r>
              <a:rPr lang="en-US" sz="12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. </a:t>
            </a:r>
            <a:r>
              <a:rPr lang="en-US" sz="1200" b="1" i="0" u="none" strike="noStrike" dirty="0">
                <a:solidFill>
                  <a:schemeClr val="tx2"/>
                </a:solidFill>
                <a:effectLst/>
                <a:latin typeface="Google Sans Text"/>
              </a:rPr>
              <a:t>Transform features by scaling each feature to a given range</a:t>
            </a:r>
            <a:r>
              <a:rPr lang="en-US" sz="12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. This estimator scales and translates each feature individually such that it is in the given range on the training set, e.g. between zero and one.</a:t>
            </a:r>
            <a:endParaRPr lang="en-S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Normalization</a:t>
            </a:r>
            <a:r>
              <a:rPr lang="en-US" sz="12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 refers to the rescaling of the features to a range of </a:t>
            </a:r>
            <a:r>
              <a:rPr lang="en-US" sz="1200" b="1" i="0" u="none" strike="noStrike" dirty="0">
                <a:solidFill>
                  <a:schemeClr val="tx2"/>
                </a:solidFill>
                <a:effectLst/>
                <a:latin typeface="Google Sans Text"/>
              </a:rPr>
              <a:t>[0, 1]</a:t>
            </a:r>
            <a:r>
              <a:rPr lang="en-US" sz="1200" b="0" i="0" u="none" strike="noStrike" dirty="0">
                <a:solidFill>
                  <a:schemeClr val="tx2"/>
                </a:solidFill>
                <a:effectLst/>
                <a:latin typeface="Google Sans Text"/>
              </a:rPr>
              <a:t>, which is a special case of min-max scaling. To normalize the data, the min-max scaling can be applied to one or more feature columns</a:t>
            </a:r>
            <a:endParaRPr lang="en-SA" sz="1200" dirty="0">
              <a:solidFill>
                <a:schemeClr val="tx2"/>
              </a:solidFill>
            </a:endParaRPr>
          </a:p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165262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ARE SOME OF THE Python library USED in this project for modeling to build data science models</a:t>
            </a:r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991436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 dirty="0">
                <a:solidFill>
                  <a:srgbClr val="151515"/>
                </a:solidFill>
                <a:effectLst/>
                <a:latin typeface="Roboto" panose="020F0502020204030204" pitchFamily="34" charset="0"/>
              </a:rPr>
              <a:t>We have drawn many interesting inferences from the dataset Netflix titles, here's a summary of the few of the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u="none" strike="noStrike" dirty="0">
              <a:solidFill>
                <a:srgbClr val="151515"/>
              </a:solidFill>
              <a:effectLst/>
              <a:latin typeface="Roboto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 dirty="0">
                <a:solidFill>
                  <a:srgbClr val="151515"/>
                </a:solidFill>
                <a:effectLst/>
                <a:latin typeface="Roboto" panose="020F0502020204030204" pitchFamily="34" charset="0"/>
              </a:rPr>
              <a:t>Netflix primarily lists two types of contents -movies and TV-shows on their streaming site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shown in the Pie chart above it is evident that there are more Movies on Netflix than TV show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92770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155F6-992C-8A46-9F2F-5A404489679B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4A233-B331-6544-AE59-8C93062DBD4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5A253F-0B42-1D4C-A2B4-E84BB102A5B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DC44CC5-8BDA-344D-B151-C38195073F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50476C-AC13-0C41-A5BF-7DD63944823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17987-E362-934D-A77D-074758D079F8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27656-5380-184B-A0F6-6A01E46EE1AE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1667B1-421A-CD46-A900-6634FC6D1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90D606-7DC0-8C48-9E7D-CFAFF0AEC24C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08F47-4C2E-784A-B5ED-5CA57D343619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0B2837-13DE-B848-8DB5-C444D4C9BCE9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843B50-88EA-904A-9867-056A2D7243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F168A1-1B86-C546-A187-DBD938F94F19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810A27-0A67-824D-848B-DF92C0F24543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86A002-D32B-D445-8547-92FF80C7E973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5EB05-7EDF-4044-9CEA-D481A9953A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D43614-C591-1C4D-B406-80E4FAFA209D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4EDF3E-5B30-684D-9AF3-FF4A6345E030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1BCABC-72DF-C247-9C97-BDF9CA4FA12C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3B75EC-C578-2C40-9FAC-FDC1F395E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58B7B1-818C-D549-9796-F885BB8BA803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86BBF8-A8A3-2F45-8CDA-D1DFDEFA5027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1B4E94-1179-694E-8A37-B466900D9652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970D4DF-77AC-F640-91A9-511F893D60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A335DA-55DD-F546-91D4-966DFB97BF85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5474C-0304-FB44-BFEF-420F959E659F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2C1654-41ED-C644-9265-6D07DB01AD18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1E20B9-0F8A-E644-B066-3635B0F3C3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06CF16-3E82-EC4D-8E09-241521E37D3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00CD30-031B-1E4F-8A4C-D91718A86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BA77D-1837-FB4B-9C22-C05D840C8D4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BDFF62-B7F1-3E4B-8AB5-5F46CE420CAC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2BAD4D-AE91-7149-A392-9D7FAE489D86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35C37BA-D441-7E4C-BEE2-4F4DDB6F0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C8778-E6B3-CC41-8F0E-5881E13C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77372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621A934-B65D-CD4E-8BE0-77B3D33BC55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.sv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0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0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0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C941E977-B0D0-CB48-B8DE-6E29C7B1F5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520" y="-10"/>
            <a:ext cx="6583479" cy="6858009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2EAF3DD-7326-8245-A8A5-9B677C75F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707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76A65E-14B9-924B-AD4D-34DFE6CC756F}"/>
              </a:ext>
            </a:extLst>
          </p:cNvPr>
          <p:cNvSpPr/>
          <p:nvPr/>
        </p:nvSpPr>
        <p:spPr>
          <a:xfrm>
            <a:off x="4733365" y="0"/>
            <a:ext cx="7458634" cy="68580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C70A88-4688-D948-AF5E-39093F45EA62}"/>
              </a:ext>
            </a:extLst>
          </p:cNvPr>
          <p:cNvSpPr/>
          <p:nvPr/>
        </p:nvSpPr>
        <p:spPr>
          <a:xfrm>
            <a:off x="0" y="0"/>
            <a:ext cx="5334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B3F926-81FA-F642-9BF5-2F373F0594DE}"/>
              </a:ext>
            </a:extLst>
          </p:cNvPr>
          <p:cNvSpPr/>
          <p:nvPr/>
        </p:nvSpPr>
        <p:spPr>
          <a:xfrm>
            <a:off x="0" y="0"/>
            <a:ext cx="5758774" cy="4711757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0F92A7-6635-1A41-8E53-44FE7C6F2B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46" y="1419598"/>
            <a:ext cx="3800476" cy="101158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AB41F8B-C129-7E42-998B-F6A97E0DC7DB}"/>
              </a:ext>
            </a:extLst>
          </p:cNvPr>
          <p:cNvSpPr/>
          <p:nvPr/>
        </p:nvSpPr>
        <p:spPr>
          <a:xfrm>
            <a:off x="533400" y="4711758"/>
            <a:ext cx="5225374" cy="21462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57F610-38AA-DC4B-AF2B-93425D23F918}"/>
              </a:ext>
            </a:extLst>
          </p:cNvPr>
          <p:cNvCxnSpPr>
            <a:cxnSpLocks/>
          </p:cNvCxnSpPr>
          <p:nvPr/>
        </p:nvCxnSpPr>
        <p:spPr>
          <a:xfrm>
            <a:off x="3904735" y="5915752"/>
            <a:ext cx="4119125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231C2031-3D6A-E044-B959-EBC36DA6B7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83183" y="4737848"/>
            <a:ext cx="1396199" cy="1396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C1E4F0-22B8-8345-AB3E-63078E274199}"/>
              </a:ext>
            </a:extLst>
          </p:cNvPr>
          <p:cNvCxnSpPr>
            <a:cxnSpLocks/>
          </p:cNvCxnSpPr>
          <p:nvPr/>
        </p:nvCxnSpPr>
        <p:spPr>
          <a:xfrm>
            <a:off x="0" y="5915752"/>
            <a:ext cx="2331720" cy="0"/>
          </a:xfrm>
          <a:prstGeom prst="line">
            <a:avLst/>
          </a:prstGeom>
          <a:ln w="9525" cap="rnd">
            <a:solidFill>
              <a:schemeClr val="accent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00DCEA-B2E7-854B-B61C-0239A12AAC06}"/>
              </a:ext>
            </a:extLst>
          </p:cNvPr>
          <p:cNvCxnSpPr>
            <a:cxnSpLocks/>
          </p:cNvCxnSpPr>
          <p:nvPr/>
        </p:nvCxnSpPr>
        <p:spPr>
          <a:xfrm>
            <a:off x="8023860" y="5915752"/>
            <a:ext cx="4168140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277F202-73A2-EB40-A8E7-D1643EBDE496}"/>
              </a:ext>
            </a:extLst>
          </p:cNvPr>
          <p:cNvSpPr/>
          <p:nvPr/>
        </p:nvSpPr>
        <p:spPr>
          <a:xfrm>
            <a:off x="257333" y="2955918"/>
            <a:ext cx="5194206" cy="160043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SA" sz="3200" b="1" dirty="0"/>
              <a:t>MOVIES AND TV SHOWS </a:t>
            </a:r>
            <a:r>
              <a:rPr lang="en-US" sz="3200" dirty="0"/>
              <a:t>Recommendation System</a:t>
            </a:r>
            <a:r>
              <a:rPr lang="en-SA" sz="3200" b="1" dirty="0"/>
              <a:t> </a:t>
            </a:r>
            <a:r>
              <a:rPr lang="en-SA" sz="3600" dirty="0"/>
              <a:t> </a:t>
            </a:r>
          </a:p>
          <a:p>
            <a:pPr algn="ctr"/>
            <a:endParaRPr lang="en-US" sz="36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頁尾版面配置區 2">
            <a:extLst>
              <a:ext uri="{FF2B5EF4-FFF2-40B4-BE49-F238E27FC236}">
                <a16:creationId xmlns:a16="http://schemas.microsoft.com/office/drawing/2014/main" id="{4171E096-D931-334A-965F-437BA9F8AE1F}"/>
              </a:ext>
            </a:extLst>
          </p:cNvPr>
          <p:cNvSpPr txBox="1">
            <a:spLocks/>
          </p:cNvSpPr>
          <p:nvPr/>
        </p:nvSpPr>
        <p:spPr>
          <a:xfrm>
            <a:off x="1143000" y="6501994"/>
            <a:ext cx="3958390" cy="281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cience Bootcamps for SDAIA Academy</a:t>
            </a:r>
            <a:endParaRPr lang="en-US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B8854F-64DB-2C4C-A185-6F1DB28EA18F}"/>
              </a:ext>
            </a:extLst>
          </p:cNvPr>
          <p:cNvSpPr txBox="1"/>
          <p:nvPr/>
        </p:nvSpPr>
        <p:spPr>
          <a:xfrm>
            <a:off x="526582" y="5594546"/>
            <a:ext cx="20308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/>
            <a:r>
              <a:rPr lang="en-US" altLang="zh-TW" sz="1600" b="1" dirty="0">
                <a:solidFill>
                  <a:schemeClr val="accent2"/>
                </a:solidFill>
                <a:latin typeface="Times New Roman" panose="02020603050405020304" pitchFamily="18" charset="0"/>
                <a:ea typeface="新細明體" panose="02020500000000000000" pitchFamily="18" charset="-120"/>
                <a:cs typeface="Times New Roman" panose="02020603050405020304" pitchFamily="18" charset="0"/>
              </a:rPr>
              <a:t>DINA ALSHEHRI</a:t>
            </a:r>
          </a:p>
        </p:txBody>
      </p:sp>
    </p:spTree>
    <p:extLst>
      <p:ext uri="{BB962C8B-B14F-4D97-AF65-F5344CB8AC3E}">
        <p14:creationId xmlns:p14="http://schemas.microsoft.com/office/powerpoint/2010/main" val="3933301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3C08A-C01E-B941-9F2F-BC97296C4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00075"/>
            <a:ext cx="11125200" cy="889000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F7882C9-41EE-C647-A724-954410BCC3AA}"/>
              </a:ext>
            </a:extLst>
          </p:cNvPr>
          <p:cNvSpPr/>
          <p:nvPr/>
        </p:nvSpPr>
        <p:spPr>
          <a:xfrm>
            <a:off x="7198240" y="1523999"/>
            <a:ext cx="4800600" cy="2069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C0B8E92-8505-EC49-94C3-A06D552EE084}"/>
              </a:ext>
            </a:extLst>
          </p:cNvPr>
          <p:cNvSpPr/>
          <p:nvPr/>
        </p:nvSpPr>
        <p:spPr>
          <a:xfrm>
            <a:off x="6741040" y="2019300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02EFD52-AAC9-8349-A936-76EB957EEC31}"/>
              </a:ext>
            </a:extLst>
          </p:cNvPr>
          <p:cNvSpPr/>
          <p:nvPr/>
        </p:nvSpPr>
        <p:spPr>
          <a:xfrm>
            <a:off x="7846825" y="1922502"/>
            <a:ext cx="3785191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dirty="0">
                <a:solidFill>
                  <a:srgbClr val="151515"/>
                </a:solidFill>
                <a:latin typeface="Roboto" panose="020F0502020204030204" pitchFamily="34" charset="0"/>
              </a:rPr>
              <a:t>The largest count of Movies and TV shows is made with a "TV-MA" rating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A2E03FB-4AC0-854A-AE5E-DC7FC131B200}"/>
              </a:ext>
            </a:extLst>
          </p:cNvPr>
          <p:cNvGrpSpPr/>
          <p:nvPr/>
        </p:nvGrpSpPr>
        <p:grpSpPr>
          <a:xfrm>
            <a:off x="7024095" y="2259106"/>
            <a:ext cx="434788" cy="434788"/>
            <a:chOff x="6283326" y="1800225"/>
            <a:chExt cx="357187" cy="357188"/>
          </a:xfrm>
        </p:grpSpPr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38060F68-2AB8-CE48-89E6-FC8149747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6" y="1841500"/>
              <a:ext cx="285750" cy="315913"/>
            </a:xfrm>
            <a:custGeom>
              <a:avLst/>
              <a:gdLst>
                <a:gd name="T0" fmla="*/ 180 w 180"/>
                <a:gd name="T1" fmla="*/ 80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52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80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52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1C71EEC8-1FA9-4041-A61F-ABF523FE0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1800225"/>
              <a:ext cx="203200" cy="203200"/>
            </a:xfrm>
            <a:custGeom>
              <a:avLst/>
              <a:gdLst>
                <a:gd name="T0" fmla="*/ 12 w 54"/>
                <a:gd name="T1" fmla="*/ 48 h 54"/>
                <a:gd name="T2" fmla="*/ 0 w 54"/>
                <a:gd name="T3" fmla="*/ 54 h 54"/>
                <a:gd name="T4" fmla="*/ 6 w 54"/>
                <a:gd name="T5" fmla="*/ 42 h 54"/>
                <a:gd name="T6" fmla="*/ 44 w 54"/>
                <a:gd name="T7" fmla="*/ 4 h 54"/>
                <a:gd name="T8" fmla="*/ 50 w 54"/>
                <a:gd name="T9" fmla="*/ 10 h 54"/>
                <a:gd name="T10" fmla="*/ 12 w 54"/>
                <a:gd name="T11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12" y="48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8" y="0"/>
                    <a:pt x="54" y="6"/>
                    <a:pt x="50" y="10"/>
                  </a:cubicBezTo>
                  <a:lnTo>
                    <a:pt x="12" y="4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6">
              <a:extLst>
                <a:ext uri="{FF2B5EF4-FFF2-40B4-BE49-F238E27FC236}">
                  <a16:creationId xmlns:a16="http://schemas.microsoft.com/office/drawing/2014/main" id="{FEEA81BF-8EB5-2042-A07A-627437B425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0188" y="1836738"/>
              <a:ext cx="23813" cy="238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EF3640F1-163F-BB44-8FD7-C92569B4AA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9" y="1105786"/>
            <a:ext cx="6423217" cy="5241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16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3C08A-C01E-B941-9F2F-BC97296C4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196" y="470195"/>
            <a:ext cx="11125200" cy="889000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724A14-801A-1246-A4D0-47CCDDC8181C}"/>
              </a:ext>
            </a:extLst>
          </p:cNvPr>
          <p:cNvSpPr/>
          <p:nvPr/>
        </p:nvSpPr>
        <p:spPr>
          <a:xfrm>
            <a:off x="544035" y="3836894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E09B63A-A62C-9946-924B-FAB8B55B1D26}"/>
              </a:ext>
            </a:extLst>
          </p:cNvPr>
          <p:cNvSpPr/>
          <p:nvPr/>
        </p:nvSpPr>
        <p:spPr>
          <a:xfrm>
            <a:off x="86835" y="4332194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813A09-7742-5A4A-9A04-B5E7F883534B}"/>
              </a:ext>
            </a:extLst>
          </p:cNvPr>
          <p:cNvSpPr/>
          <p:nvPr/>
        </p:nvSpPr>
        <p:spPr>
          <a:xfrm>
            <a:off x="1145805" y="4235398"/>
            <a:ext cx="3766440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dirty="0">
                <a:solidFill>
                  <a:srgbClr val="151515"/>
                </a:solidFill>
                <a:latin typeface="Roboto" panose="020F0502020204030204" pitchFamily="34" charset="0"/>
              </a:rPr>
              <a:t>United States have highest rated content on the Netflix.</a:t>
            </a:r>
            <a:endParaRPr lang="en-US" sz="2400" dirty="0">
              <a:solidFill>
                <a:srgbClr val="151515"/>
              </a:solidFill>
              <a:latin typeface="Roboto" panose="020F050202020403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ACCCCE1-AA0E-3A40-8DAF-687D14D4907C}"/>
              </a:ext>
            </a:extLst>
          </p:cNvPr>
          <p:cNvGrpSpPr/>
          <p:nvPr/>
        </p:nvGrpSpPr>
        <p:grpSpPr>
          <a:xfrm>
            <a:off x="335372" y="4589345"/>
            <a:ext cx="417326" cy="400098"/>
            <a:chOff x="7726363" y="2909889"/>
            <a:chExt cx="346075" cy="331788"/>
          </a:xfrm>
        </p:grpSpPr>
        <p:sp>
          <p:nvSpPr>
            <p:cNvPr id="50" name="Freeform 59">
              <a:extLst>
                <a:ext uri="{FF2B5EF4-FFF2-40B4-BE49-F238E27FC236}">
                  <a16:creationId xmlns:a16="http://schemas.microsoft.com/office/drawing/2014/main" id="{CB4F6AA0-40BD-8340-8B3E-F6DF0A527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60">
              <a:extLst>
                <a:ext uri="{FF2B5EF4-FFF2-40B4-BE49-F238E27FC236}">
                  <a16:creationId xmlns:a16="http://schemas.microsoft.com/office/drawing/2014/main" id="{ABD299D6-C217-1A4B-B91F-C383F4182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61">
              <a:extLst>
                <a:ext uri="{FF2B5EF4-FFF2-40B4-BE49-F238E27FC236}">
                  <a16:creationId xmlns:a16="http://schemas.microsoft.com/office/drawing/2014/main" id="{12DF48D5-631E-1146-8E2B-6D18AF025D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62">
              <a:extLst>
                <a:ext uri="{FF2B5EF4-FFF2-40B4-BE49-F238E27FC236}">
                  <a16:creationId xmlns:a16="http://schemas.microsoft.com/office/drawing/2014/main" id="{05A97C75-D112-9642-AA6A-C6877FC080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63">
              <a:extLst>
                <a:ext uri="{FF2B5EF4-FFF2-40B4-BE49-F238E27FC236}">
                  <a16:creationId xmlns:a16="http://schemas.microsoft.com/office/drawing/2014/main" id="{57320B54-63F2-4242-80F8-703F25199A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64">
              <a:extLst>
                <a:ext uri="{FF2B5EF4-FFF2-40B4-BE49-F238E27FC236}">
                  <a16:creationId xmlns:a16="http://schemas.microsoft.com/office/drawing/2014/main" id="{CC627F04-487C-AA41-8598-73BBEB596D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378AA615-1521-5342-B28E-82B30D714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395C04A5-B67A-F940-9138-A0B78E8D7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67">
              <a:extLst>
                <a:ext uri="{FF2B5EF4-FFF2-40B4-BE49-F238E27FC236}">
                  <a16:creationId xmlns:a16="http://schemas.microsoft.com/office/drawing/2014/main" id="{945CD137-0027-1249-9DF1-028ACDC82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AB00FF24-D1FC-234C-9834-21915BD8CF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1460" y="764489"/>
            <a:ext cx="6440156" cy="550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6239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3C08A-C01E-B941-9F2F-BC97296C4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92C9DA-C8DA-CA45-88ED-F75F56DAA779}"/>
              </a:ext>
            </a:extLst>
          </p:cNvPr>
          <p:cNvSpPr/>
          <p:nvPr/>
        </p:nvSpPr>
        <p:spPr>
          <a:xfrm>
            <a:off x="6858000" y="4240929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8F3439F-1AB8-9747-894E-947830144B57}"/>
              </a:ext>
            </a:extLst>
          </p:cNvPr>
          <p:cNvSpPr/>
          <p:nvPr/>
        </p:nvSpPr>
        <p:spPr>
          <a:xfrm>
            <a:off x="6400800" y="4736229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F1841BD-F61A-D24F-BDD4-17AF521E965F}"/>
              </a:ext>
            </a:extLst>
          </p:cNvPr>
          <p:cNvSpPr/>
          <p:nvPr/>
        </p:nvSpPr>
        <p:spPr>
          <a:xfrm>
            <a:off x="7187608" y="4639868"/>
            <a:ext cx="3955311" cy="123110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000" dirty="0">
                <a:solidFill>
                  <a:srgbClr val="151515"/>
                </a:solidFill>
                <a:latin typeface="Roboto" panose="020F0502020204030204" pitchFamily="34" charset="0"/>
              </a:rPr>
              <a:t>The</a:t>
            </a:r>
            <a:r>
              <a:rPr lang="en-SA" sz="2000" dirty="0">
                <a:solidFill>
                  <a:srgbClr val="151515"/>
                </a:solidFill>
                <a:latin typeface="Roboto" panose="020F0502020204030204" pitchFamily="34" charset="0"/>
              </a:rPr>
              <a:t> most popular director on Netflix with the most titles</a:t>
            </a:r>
          </a:p>
          <a:p>
            <a:pPr algn="ctr"/>
            <a:r>
              <a:rPr lang="en-ID" sz="2000" dirty="0">
                <a:solidFill>
                  <a:srgbClr val="151515"/>
                </a:solidFill>
                <a:latin typeface="Roboto" panose="020F0502020204030204" pitchFamily="34" charset="0"/>
              </a:rPr>
              <a:t>Rajiv </a:t>
            </a:r>
            <a:r>
              <a:rPr lang="en-ID" sz="2000" dirty="0" err="1">
                <a:solidFill>
                  <a:srgbClr val="151515"/>
                </a:solidFill>
                <a:latin typeface="Roboto" panose="020F0502020204030204" pitchFamily="34" charset="0"/>
              </a:rPr>
              <a:t>Chilaka</a:t>
            </a:r>
            <a:r>
              <a:rPr lang="en-ID" sz="2000" dirty="0">
                <a:solidFill>
                  <a:srgbClr val="151515"/>
                </a:solidFill>
                <a:latin typeface="Roboto" panose="020F0502020204030204" pitchFamily="34" charset="0"/>
              </a:rPr>
              <a:t>  (Movie)</a:t>
            </a:r>
          </a:p>
          <a:p>
            <a:pPr algn="ctr"/>
            <a:r>
              <a:rPr lang="en-ID" sz="2000" dirty="0">
                <a:solidFill>
                  <a:srgbClr val="151515"/>
                </a:solidFill>
                <a:latin typeface="Roboto" panose="020F0502020204030204" pitchFamily="34" charset="0"/>
              </a:rPr>
              <a:t>Alastair </a:t>
            </a:r>
            <a:r>
              <a:rPr lang="en-ID" sz="2000" dirty="0" err="1">
                <a:solidFill>
                  <a:srgbClr val="151515"/>
                </a:solidFill>
                <a:latin typeface="Roboto" panose="020F0502020204030204" pitchFamily="34" charset="0"/>
              </a:rPr>
              <a:t>Fothergill</a:t>
            </a:r>
            <a:r>
              <a:rPr lang="en-ID" sz="2000" dirty="0">
                <a:solidFill>
                  <a:srgbClr val="151515"/>
                </a:solidFill>
                <a:latin typeface="Roboto" panose="020F0502020204030204" pitchFamily="34" charset="0"/>
              </a:rPr>
              <a:t>  (TV Show)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1E5025-9B32-AB41-B4FB-B46E4BEEC0FA}"/>
              </a:ext>
            </a:extLst>
          </p:cNvPr>
          <p:cNvGrpSpPr/>
          <p:nvPr/>
        </p:nvGrpSpPr>
        <p:grpSpPr>
          <a:xfrm>
            <a:off x="6663560" y="4993381"/>
            <a:ext cx="388880" cy="400098"/>
            <a:chOff x="3052763" y="3251201"/>
            <a:chExt cx="330200" cy="339725"/>
          </a:xfrm>
        </p:grpSpPr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E6B951BE-2B18-834B-8237-D3BEA5F2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963" y="3251201"/>
              <a:ext cx="254000" cy="263525"/>
            </a:xfrm>
            <a:custGeom>
              <a:avLst/>
              <a:gdLst>
                <a:gd name="T0" fmla="*/ 0 w 68"/>
                <a:gd name="T1" fmla="*/ 54 h 68"/>
                <a:gd name="T2" fmla="*/ 46 w 68"/>
                <a:gd name="T3" fmla="*/ 7 h 68"/>
                <a:gd name="T4" fmla="*/ 68 w 68"/>
                <a:gd name="T5" fmla="*/ 0 h 68"/>
                <a:gd name="T6" fmla="*/ 61 w 68"/>
                <a:gd name="T7" fmla="*/ 21 h 68"/>
                <a:gd name="T8" fmla="*/ 14 w 68"/>
                <a:gd name="T9" fmla="*/ 68 h 68"/>
                <a:gd name="T10" fmla="*/ 0 w 68"/>
                <a:gd name="T11" fmla="*/ 5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68">
                  <a:moveTo>
                    <a:pt x="0" y="54"/>
                  </a:moveTo>
                  <a:cubicBezTo>
                    <a:pt x="0" y="54"/>
                    <a:pt x="44" y="10"/>
                    <a:pt x="46" y="7"/>
                  </a:cubicBezTo>
                  <a:cubicBezTo>
                    <a:pt x="51" y="3"/>
                    <a:pt x="68" y="0"/>
                    <a:pt x="68" y="0"/>
                  </a:cubicBezTo>
                  <a:cubicBezTo>
                    <a:pt x="68" y="0"/>
                    <a:pt x="65" y="17"/>
                    <a:pt x="61" y="21"/>
                  </a:cubicBezTo>
                  <a:cubicBezTo>
                    <a:pt x="55" y="27"/>
                    <a:pt x="14" y="68"/>
                    <a:pt x="14" y="68"/>
                  </a:cubicBezTo>
                  <a:lnTo>
                    <a:pt x="0" y="5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6">
              <a:extLst>
                <a:ext uri="{FF2B5EF4-FFF2-40B4-BE49-F238E27FC236}">
                  <a16:creationId xmlns:a16="http://schemas.microsoft.com/office/drawing/2014/main" id="{E96E9261-8972-F944-85CE-6230298A6E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6425" y="3436938"/>
              <a:ext cx="57150" cy="5397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9E021D55-635B-8049-91AC-3F8F4AB71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32176"/>
              <a:ext cx="77788" cy="158750"/>
            </a:xfrm>
            <a:custGeom>
              <a:avLst/>
              <a:gdLst>
                <a:gd name="T0" fmla="*/ 21 w 21"/>
                <a:gd name="T1" fmla="*/ 0 h 41"/>
                <a:gd name="T2" fmla="*/ 20 w 21"/>
                <a:gd name="T3" fmla="*/ 18 h 41"/>
                <a:gd name="T4" fmla="*/ 14 w 21"/>
                <a:gd name="T5" fmla="*/ 27 h 41"/>
                <a:gd name="T6" fmla="*/ 0 w 21"/>
                <a:gd name="T7" fmla="*/ 41 h 41"/>
                <a:gd name="T8" fmla="*/ 3 w 21"/>
                <a:gd name="T9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1">
                  <a:moveTo>
                    <a:pt x="21" y="0"/>
                  </a:moveTo>
                  <a:cubicBezTo>
                    <a:pt x="21" y="2"/>
                    <a:pt x="21" y="14"/>
                    <a:pt x="20" y="18"/>
                  </a:cubicBezTo>
                  <a:cubicBezTo>
                    <a:pt x="19" y="21"/>
                    <a:pt x="16" y="25"/>
                    <a:pt x="14" y="27"/>
                  </a:cubicBezTo>
                  <a:cubicBezTo>
                    <a:pt x="9" y="32"/>
                    <a:pt x="0" y="41"/>
                    <a:pt x="0" y="41"/>
                  </a:cubicBezTo>
                  <a:cubicBezTo>
                    <a:pt x="3" y="18"/>
                    <a:pt x="3" y="18"/>
                    <a:pt x="3" y="1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8CEDEA2D-C1A6-7B49-AFA7-306355E9C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3375026"/>
              <a:ext cx="153988" cy="85725"/>
            </a:xfrm>
            <a:custGeom>
              <a:avLst/>
              <a:gdLst>
                <a:gd name="T0" fmla="*/ 41 w 41"/>
                <a:gd name="T1" fmla="*/ 1 h 22"/>
                <a:gd name="T2" fmla="*/ 23 w 41"/>
                <a:gd name="T3" fmla="*/ 2 h 22"/>
                <a:gd name="T4" fmla="*/ 14 w 41"/>
                <a:gd name="T5" fmla="*/ 8 h 22"/>
                <a:gd name="T6" fmla="*/ 0 w 41"/>
                <a:gd name="T7" fmla="*/ 22 h 22"/>
                <a:gd name="T8" fmla="*/ 23 w 41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2">
                  <a:moveTo>
                    <a:pt x="41" y="1"/>
                  </a:moveTo>
                  <a:cubicBezTo>
                    <a:pt x="38" y="1"/>
                    <a:pt x="27" y="0"/>
                    <a:pt x="23" y="2"/>
                  </a:cubicBezTo>
                  <a:cubicBezTo>
                    <a:pt x="20" y="3"/>
                    <a:pt x="16" y="6"/>
                    <a:pt x="14" y="8"/>
                  </a:cubicBezTo>
                  <a:cubicBezTo>
                    <a:pt x="9" y="13"/>
                    <a:pt x="0" y="22"/>
                    <a:pt x="0" y="22"/>
                  </a:cubicBezTo>
                  <a:cubicBezTo>
                    <a:pt x="23" y="19"/>
                    <a:pt x="23" y="19"/>
                    <a:pt x="23" y="1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950CF327-5DD5-DA4A-96AE-74D4C157C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7525" y="3479801"/>
              <a:ext cx="100013" cy="104775"/>
            </a:xfrm>
            <a:custGeom>
              <a:avLst/>
              <a:gdLst>
                <a:gd name="T0" fmla="*/ 24 w 27"/>
                <a:gd name="T1" fmla="*/ 9 h 27"/>
                <a:gd name="T2" fmla="*/ 23 w 27"/>
                <a:gd name="T3" fmla="*/ 19 h 27"/>
                <a:gd name="T4" fmla="*/ 0 w 27"/>
                <a:gd name="T5" fmla="*/ 27 h 27"/>
                <a:gd name="T6" fmla="*/ 9 w 27"/>
                <a:gd name="T7" fmla="*/ 5 h 27"/>
                <a:gd name="T8" fmla="*/ 19 w 27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7">
                  <a:moveTo>
                    <a:pt x="24" y="9"/>
                  </a:moveTo>
                  <a:cubicBezTo>
                    <a:pt x="27" y="12"/>
                    <a:pt x="26" y="16"/>
                    <a:pt x="23" y="19"/>
                  </a:cubicBezTo>
                  <a:cubicBezTo>
                    <a:pt x="19" y="23"/>
                    <a:pt x="0" y="27"/>
                    <a:pt x="0" y="27"/>
                  </a:cubicBezTo>
                  <a:cubicBezTo>
                    <a:pt x="0" y="27"/>
                    <a:pt x="5" y="9"/>
                    <a:pt x="9" y="5"/>
                  </a:cubicBezTo>
                  <a:cubicBezTo>
                    <a:pt x="12" y="2"/>
                    <a:pt x="16" y="0"/>
                    <a:pt x="19" y="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6" name="Picture 5" descr="Chart, histogram&#10;&#10;Description automatically generated">
            <a:extLst>
              <a:ext uri="{FF2B5EF4-FFF2-40B4-BE49-F238E27FC236}">
                <a16:creationId xmlns:a16="http://schemas.microsoft.com/office/drawing/2014/main" id="{A5B2CA21-5794-EA4D-8CE3-2EAEDEBF90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451" y="160742"/>
            <a:ext cx="4784651" cy="3837100"/>
          </a:xfrm>
          <a:prstGeom prst="rect">
            <a:avLst/>
          </a:prstGeom>
        </p:spPr>
      </p:pic>
      <p:pic>
        <p:nvPicPr>
          <p:cNvPr id="9" name="Picture 8" descr="Chart, bar chart, histogram&#10;&#10;Description automatically generated">
            <a:extLst>
              <a:ext uri="{FF2B5EF4-FFF2-40B4-BE49-F238E27FC236}">
                <a16:creationId xmlns:a16="http://schemas.microsoft.com/office/drawing/2014/main" id="{E55D595F-3DAE-904B-B971-E6822BF744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65" y="1763575"/>
            <a:ext cx="4274444" cy="449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755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3C08A-C01E-B941-9F2F-BC97296C4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193750"/>
            <a:ext cx="11125200" cy="889000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CF4802-B729-BC49-BE9E-BB1D233CF0B0}"/>
              </a:ext>
            </a:extLst>
          </p:cNvPr>
          <p:cNvSpPr/>
          <p:nvPr/>
        </p:nvSpPr>
        <p:spPr>
          <a:xfrm>
            <a:off x="1169580" y="935665"/>
            <a:ext cx="9994605" cy="54013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7506D0-86D2-0447-B46F-E77B6DAE2CF7}"/>
              </a:ext>
            </a:extLst>
          </p:cNvPr>
          <p:cNvSpPr/>
          <p:nvPr/>
        </p:nvSpPr>
        <p:spPr>
          <a:xfrm>
            <a:off x="533400" y="2019300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1676C7D3-37D6-3D4E-92B7-E0BEB74ED5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5368" y="1148316"/>
            <a:ext cx="7570379" cy="503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800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EC538A1-9E82-3045-88C8-A952055D325E}"/>
              </a:ext>
            </a:extLst>
          </p:cNvPr>
          <p:cNvSpPr txBox="1"/>
          <p:nvPr/>
        </p:nvSpPr>
        <p:spPr>
          <a:xfrm>
            <a:off x="612649" y="657553"/>
            <a:ext cx="8668512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zh-TW" sz="4800" dirty="0">
                <a:solidFill>
                  <a:schemeClr val="accent2"/>
                </a:solidFill>
                <a:ea typeface="新細明體" panose="02020500000000000000" pitchFamily="18" charset="-120"/>
              </a:rPr>
              <a:t>REFERENCES</a:t>
            </a:r>
            <a:endParaRPr lang="en-SA" sz="4800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D92841-8AB7-424E-BF26-EF9D821F241B}"/>
              </a:ext>
            </a:extLst>
          </p:cNvPr>
          <p:cNvSpPr txBox="1"/>
          <p:nvPr/>
        </p:nvSpPr>
        <p:spPr>
          <a:xfrm>
            <a:off x="701748" y="1600775"/>
            <a:ext cx="1080267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Kaggle.com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2021. </a:t>
            </a:r>
            <a:r>
              <a:rPr lang="en-US" sz="3200" b="0" i="1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tflix Movies and TV Shows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[online] Available at: &lt;https://</a:t>
            </a:r>
            <a:r>
              <a:rPr lang="en-US" sz="32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www.kaggle.com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/</a:t>
            </a:r>
            <a:r>
              <a:rPr lang="en-US" sz="32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hivamb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/</a:t>
            </a:r>
            <a:r>
              <a:rPr lang="en-US" sz="32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tflix</a:t>
            </a:r>
            <a:r>
              <a:rPr lang="en-US" sz="32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-shows&gt; [Accessed 25 November 2021].</a:t>
            </a:r>
            <a:endParaRPr lang="en-SA" sz="3200" dirty="0"/>
          </a:p>
        </p:txBody>
      </p:sp>
    </p:spTree>
    <p:extLst>
      <p:ext uri="{BB962C8B-B14F-4D97-AF65-F5344CB8AC3E}">
        <p14:creationId xmlns:p14="http://schemas.microsoft.com/office/powerpoint/2010/main" val="30386818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8241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 22">
            <a:extLst>
              <a:ext uri="{FF2B5EF4-FFF2-40B4-BE49-F238E27FC236}">
                <a16:creationId xmlns:a16="http://schemas.microsoft.com/office/drawing/2014/main" id="{025C0882-B30E-A045-9347-8AD1C1253E85}"/>
              </a:ext>
            </a:extLst>
          </p:cNvPr>
          <p:cNvSpPr/>
          <p:nvPr/>
        </p:nvSpPr>
        <p:spPr>
          <a:xfrm>
            <a:off x="490870" y="0"/>
            <a:ext cx="11125200" cy="6248400"/>
          </a:xfrm>
          <a:custGeom>
            <a:avLst/>
            <a:gdLst>
              <a:gd name="connsiteX0" fmla="*/ 5562599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6248400 h 6248400"/>
              <a:gd name="connsiteX3" fmla="*/ 0 w 11125200"/>
              <a:gd name="connsiteY3" fmla="*/ 6248400 h 6248400"/>
              <a:gd name="connsiteX4" fmla="*/ 0 w 11125200"/>
              <a:gd name="connsiteY4" fmla="*/ 5741581 h 6248400"/>
              <a:gd name="connsiteX5" fmla="*/ 5562599 w 11125200"/>
              <a:gd name="connsiteY5" fmla="*/ 5741581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5562599" y="0"/>
                </a:moveTo>
                <a:lnTo>
                  <a:pt x="11125200" y="0"/>
                </a:lnTo>
                <a:lnTo>
                  <a:pt x="11125200" y="6248400"/>
                </a:lnTo>
                <a:lnTo>
                  <a:pt x="0" y="6248400"/>
                </a:lnTo>
                <a:lnTo>
                  <a:pt x="0" y="5741581"/>
                </a:lnTo>
                <a:lnTo>
                  <a:pt x="5562599" y="5741581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5FE0B-ACEF-204E-B6EF-5C1A347A4890}"/>
              </a:ext>
            </a:extLst>
          </p:cNvPr>
          <p:cNvSpPr/>
          <p:nvPr/>
        </p:nvSpPr>
        <p:spPr>
          <a:xfrm>
            <a:off x="0" y="0"/>
            <a:ext cx="6095999" cy="5741581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179796" y="1541195"/>
            <a:ext cx="3736406" cy="26591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9600" dirty="0">
                <a:solidFill>
                  <a:schemeClr val="bg1"/>
                </a:solidFill>
              </a:rPr>
              <a:t>Thank</a:t>
            </a:r>
          </a:p>
          <a:p>
            <a:pPr algn="ctr"/>
            <a:r>
              <a:rPr lang="en-US" sz="9600" dirty="0">
                <a:solidFill>
                  <a:schemeClr val="bg1"/>
                </a:solidFill>
              </a:rPr>
              <a:t>You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B3A757-ACD6-1842-BFE7-A555F5915795}"/>
              </a:ext>
            </a:extLst>
          </p:cNvPr>
          <p:cNvCxnSpPr>
            <a:cxnSpLocks/>
          </p:cNvCxnSpPr>
          <p:nvPr/>
        </p:nvCxnSpPr>
        <p:spPr>
          <a:xfrm>
            <a:off x="2982686" y="4788963"/>
            <a:ext cx="6366587" cy="0"/>
          </a:xfrm>
          <a:prstGeom prst="line">
            <a:avLst/>
          </a:prstGeom>
          <a:ln w="9525" cap="rnd">
            <a:solidFill>
              <a:schemeClr val="bg2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81AD341-2EC4-4248-A9AF-BDE3154160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204" y="4645682"/>
            <a:ext cx="1076597" cy="28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14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92B8D2-9841-8845-89AA-71EAC2A5C0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00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77C045-D98A-A24A-853E-65BBEE7EFD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94C710-0156-BD43-B088-064424BC9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6682" y="1234729"/>
            <a:ext cx="2688012" cy="747897"/>
          </a:xfrm>
        </p:spPr>
        <p:txBody>
          <a:bodyPr wrap="square" lIns="0" tIns="0" rIns="0" bIns="0">
            <a:spAutoFit/>
          </a:bodyPr>
          <a:lstStyle/>
          <a:p>
            <a:r>
              <a:rPr lang="en-US" sz="5400" dirty="0">
                <a:solidFill>
                  <a:schemeClr val="accent4"/>
                </a:solidFill>
              </a:rPr>
              <a:t>Outlin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D84E7A2-5B64-0C49-B272-9D72DCE979BE}"/>
              </a:ext>
            </a:extLst>
          </p:cNvPr>
          <p:cNvSpPr/>
          <p:nvPr/>
        </p:nvSpPr>
        <p:spPr>
          <a:xfrm>
            <a:off x="5946648" y="3140516"/>
            <a:ext cx="5852160" cy="3044638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B2C328-DA5E-5845-A41C-2168F6BD77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19" y="819150"/>
            <a:ext cx="865094" cy="1579057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D236B91-04D3-6B49-BA1B-C3259DA93D37}"/>
              </a:ext>
            </a:extLst>
          </p:cNvPr>
          <p:cNvGrpSpPr/>
          <p:nvPr/>
        </p:nvGrpSpPr>
        <p:grpSpPr>
          <a:xfrm>
            <a:off x="6096000" y="3429000"/>
            <a:ext cx="789227" cy="763767"/>
            <a:chOff x="909919" y="3586400"/>
            <a:chExt cx="669291" cy="647700"/>
          </a:xfrm>
        </p:grpSpPr>
        <p:sp>
          <p:nvSpPr>
            <p:cNvPr id="13" name="Freeform 60">
              <a:extLst>
                <a:ext uri="{FF2B5EF4-FFF2-40B4-BE49-F238E27FC236}">
                  <a16:creationId xmlns:a16="http://schemas.microsoft.com/office/drawing/2014/main" id="{E802CAB2-EE52-7441-B930-17EDCC46C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919" y="3586400"/>
              <a:ext cx="669291" cy="468811"/>
            </a:xfrm>
            <a:custGeom>
              <a:avLst/>
              <a:gdLst>
                <a:gd name="T0" fmla="*/ 32 w 92"/>
                <a:gd name="T1" fmla="*/ 64 h 64"/>
                <a:gd name="T2" fmla="*/ 6 w 92"/>
                <a:gd name="T3" fmla="*/ 64 h 64"/>
                <a:gd name="T4" fmla="*/ 0 w 92"/>
                <a:gd name="T5" fmla="*/ 58 h 64"/>
                <a:gd name="T6" fmla="*/ 0 w 92"/>
                <a:gd name="T7" fmla="*/ 6 h 64"/>
                <a:gd name="T8" fmla="*/ 6 w 92"/>
                <a:gd name="T9" fmla="*/ 0 h 64"/>
                <a:gd name="T10" fmla="*/ 86 w 92"/>
                <a:gd name="T11" fmla="*/ 0 h 64"/>
                <a:gd name="T12" fmla="*/ 92 w 92"/>
                <a:gd name="T13" fmla="*/ 6 h 64"/>
                <a:gd name="T14" fmla="*/ 92 w 92"/>
                <a:gd name="T15" fmla="*/ 58 h 64"/>
                <a:gd name="T16" fmla="*/ 86 w 92"/>
                <a:gd name="T17" fmla="*/ 64 h 64"/>
                <a:gd name="T18" fmla="*/ 80 w 92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4">
                  <a:moveTo>
                    <a:pt x="32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3" y="64"/>
                    <a:pt x="0" y="61"/>
                    <a:pt x="0" y="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61"/>
                    <a:pt x="89" y="64"/>
                    <a:pt x="86" y="64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61">
              <a:extLst>
                <a:ext uri="{FF2B5EF4-FFF2-40B4-BE49-F238E27FC236}">
                  <a16:creationId xmlns:a16="http://schemas.microsoft.com/office/drawing/2014/main" id="{E0FD816F-8E35-4247-8A8E-1078E558F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519" y="3645002"/>
              <a:ext cx="555171" cy="351609"/>
            </a:xfrm>
            <a:custGeom>
              <a:avLst/>
              <a:gdLst>
                <a:gd name="T0" fmla="*/ 56 w 180"/>
                <a:gd name="T1" fmla="*/ 114 h 114"/>
                <a:gd name="T2" fmla="*/ 0 w 180"/>
                <a:gd name="T3" fmla="*/ 114 h 114"/>
                <a:gd name="T4" fmla="*/ 0 w 180"/>
                <a:gd name="T5" fmla="*/ 0 h 114"/>
                <a:gd name="T6" fmla="*/ 180 w 180"/>
                <a:gd name="T7" fmla="*/ 0 h 114"/>
                <a:gd name="T8" fmla="*/ 180 w 180"/>
                <a:gd name="T9" fmla="*/ 114 h 114"/>
                <a:gd name="T10" fmla="*/ 170 w 180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14">
                  <a:moveTo>
                    <a:pt x="56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180" y="0"/>
                  </a:lnTo>
                  <a:lnTo>
                    <a:pt x="180" y="114"/>
                  </a:lnTo>
                  <a:lnTo>
                    <a:pt x="170" y="114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62">
              <a:extLst>
                <a:ext uri="{FF2B5EF4-FFF2-40B4-BE49-F238E27FC236}">
                  <a16:creationId xmlns:a16="http://schemas.microsoft.com/office/drawing/2014/main" id="{201EF7A6-C345-7A4D-895F-7D2940496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0685" y="3938009"/>
              <a:ext cx="175805" cy="296091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Oval 63">
              <a:extLst>
                <a:ext uri="{FF2B5EF4-FFF2-40B4-BE49-F238E27FC236}">
                  <a16:creationId xmlns:a16="http://schemas.microsoft.com/office/drawing/2014/main" id="{A95DFE4B-D00B-524A-9944-A806AD7BB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39842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64">
              <a:extLst>
                <a:ext uri="{FF2B5EF4-FFF2-40B4-BE49-F238E27FC236}">
                  <a16:creationId xmlns:a16="http://schemas.microsoft.com/office/drawing/2014/main" id="{F58985C3-2D9A-474F-9E59-1BF73108C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39842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Oval 65">
              <a:extLst>
                <a:ext uri="{FF2B5EF4-FFF2-40B4-BE49-F238E27FC236}">
                  <a16:creationId xmlns:a16="http://schemas.microsoft.com/office/drawing/2014/main" id="{7C4AD387-E208-3D49-BA36-22DA96913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0428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6">
              <a:extLst>
                <a:ext uri="{FF2B5EF4-FFF2-40B4-BE49-F238E27FC236}">
                  <a16:creationId xmlns:a16="http://schemas.microsoft.com/office/drawing/2014/main" id="{40EB16FC-E226-FA4D-BAE8-CCE743053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0428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Oval 67">
              <a:extLst>
                <a:ext uri="{FF2B5EF4-FFF2-40B4-BE49-F238E27FC236}">
                  <a16:creationId xmlns:a16="http://schemas.microsoft.com/office/drawing/2014/main" id="{AB86EE6B-CC8D-2B42-BD7F-0F662322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101477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8">
              <a:extLst>
                <a:ext uri="{FF2B5EF4-FFF2-40B4-BE49-F238E27FC236}">
                  <a16:creationId xmlns:a16="http://schemas.microsoft.com/office/drawing/2014/main" id="{F59E9774-2B28-B74F-B890-65992CFF2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101477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9">
              <a:extLst>
                <a:ext uri="{FF2B5EF4-FFF2-40B4-BE49-F238E27FC236}">
                  <a16:creationId xmlns:a16="http://schemas.microsoft.com/office/drawing/2014/main" id="{8816E31E-CBE1-2E4E-941D-5CBF2B8F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516" y="3740614"/>
              <a:ext cx="194311" cy="37011"/>
            </a:xfrm>
            <a:custGeom>
              <a:avLst/>
              <a:gdLst>
                <a:gd name="T0" fmla="*/ 27 w 27"/>
                <a:gd name="T1" fmla="*/ 5 h 5"/>
                <a:gd name="T2" fmla="*/ 0 w 27"/>
                <a:gd name="T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7" h="5">
                  <a:moveTo>
                    <a:pt x="27" y="5"/>
                  </a:moveTo>
                  <a:cubicBezTo>
                    <a:pt x="19" y="0"/>
                    <a:pt x="9" y="0"/>
                    <a:pt x="0" y="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70">
              <a:extLst>
                <a:ext uri="{FF2B5EF4-FFF2-40B4-BE49-F238E27FC236}">
                  <a16:creationId xmlns:a16="http://schemas.microsoft.com/office/drawing/2014/main" id="{851532A3-4A38-2E42-9A30-D4FD2EC77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274" y="3799217"/>
              <a:ext cx="132625" cy="27760"/>
            </a:xfrm>
            <a:custGeom>
              <a:avLst/>
              <a:gdLst>
                <a:gd name="T0" fmla="*/ 18 w 18"/>
                <a:gd name="T1" fmla="*/ 4 h 4"/>
                <a:gd name="T2" fmla="*/ 0 w 18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4"/>
                  </a:moveTo>
                  <a:cubicBezTo>
                    <a:pt x="13" y="0"/>
                    <a:pt x="6" y="0"/>
                    <a:pt x="0" y="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71">
              <a:extLst>
                <a:ext uri="{FF2B5EF4-FFF2-40B4-BE49-F238E27FC236}">
                  <a16:creationId xmlns:a16="http://schemas.microsoft.com/office/drawing/2014/main" id="{9AAC4BF4-554C-764A-A828-ED5A5D78E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033" y="3863986"/>
              <a:ext cx="74023" cy="9254"/>
            </a:xfrm>
            <a:custGeom>
              <a:avLst/>
              <a:gdLst>
                <a:gd name="T0" fmla="*/ 10 w 10"/>
                <a:gd name="T1" fmla="*/ 1 h 1"/>
                <a:gd name="T2" fmla="*/ 0 w 10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">
                  <a:moveTo>
                    <a:pt x="10" y="1"/>
                  </a:moveTo>
                  <a:cubicBezTo>
                    <a:pt x="7" y="0"/>
                    <a:pt x="3" y="0"/>
                    <a:pt x="0" y="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62E7B75-79CA-C843-80B6-3D8BE36203D3}"/>
              </a:ext>
            </a:extLst>
          </p:cNvPr>
          <p:cNvCxnSpPr>
            <a:cxnSpLocks/>
          </p:cNvCxnSpPr>
          <p:nvPr/>
        </p:nvCxnSpPr>
        <p:spPr>
          <a:xfrm>
            <a:off x="6753205" y="4034685"/>
            <a:ext cx="4934678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eform 41">
            <a:extLst>
              <a:ext uri="{FF2B5EF4-FFF2-40B4-BE49-F238E27FC236}">
                <a16:creationId xmlns:a16="http://schemas.microsoft.com/office/drawing/2014/main" id="{39D4702F-7C4F-DB47-80E4-EC6F67C163CA}"/>
              </a:ext>
            </a:extLst>
          </p:cNvPr>
          <p:cNvSpPr/>
          <p:nvPr/>
        </p:nvSpPr>
        <p:spPr>
          <a:xfrm rot="16200000">
            <a:off x="923019" y="2666556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頁尾版面配置區 2">
            <a:extLst>
              <a:ext uri="{FF2B5EF4-FFF2-40B4-BE49-F238E27FC236}">
                <a16:creationId xmlns:a16="http://schemas.microsoft.com/office/drawing/2014/main" id="{41727ABC-099E-3A40-AF42-29D1816C8A66}"/>
              </a:ext>
            </a:extLst>
          </p:cNvPr>
          <p:cNvSpPr txBox="1">
            <a:spLocks/>
          </p:cNvSpPr>
          <p:nvPr/>
        </p:nvSpPr>
        <p:spPr>
          <a:xfrm>
            <a:off x="1339084" y="6336843"/>
            <a:ext cx="4914582" cy="45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Data Science Bootcamps for SDAIA Academy.</a:t>
            </a:r>
            <a:endParaRPr lang="en-US" alt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BE5760B-8677-7F45-85EF-71B4A7DECAE3}"/>
              </a:ext>
            </a:extLst>
          </p:cNvPr>
          <p:cNvSpPr txBox="1"/>
          <p:nvPr/>
        </p:nvSpPr>
        <p:spPr>
          <a:xfrm>
            <a:off x="11503152" y="65471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SA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DE93144-F48B-8142-8FFF-A2477583ECDC}"/>
              </a:ext>
            </a:extLst>
          </p:cNvPr>
          <p:cNvSpPr txBox="1"/>
          <p:nvPr/>
        </p:nvSpPr>
        <p:spPr>
          <a:xfrm>
            <a:off x="1548315" y="2645109"/>
            <a:ext cx="3176825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zh-TW" sz="2800" dirty="0">
                <a:solidFill>
                  <a:schemeClr val="tx1">
                    <a:lumMod val="75000"/>
                    <a:lumOff val="25000"/>
                  </a:schemeClr>
                </a:solidFill>
                <a:ea typeface="新細明體" panose="02020500000000000000" pitchFamily="18" charset="-120"/>
              </a:rPr>
              <a:t>INTRODUCTION</a:t>
            </a:r>
          </a:p>
        </p:txBody>
      </p:sp>
      <p:sp>
        <p:nvSpPr>
          <p:cNvPr id="49" name="Freeform 48">
            <a:extLst>
              <a:ext uri="{FF2B5EF4-FFF2-40B4-BE49-F238E27FC236}">
                <a16:creationId xmlns:a16="http://schemas.microsoft.com/office/drawing/2014/main" id="{EFC9D700-FECD-AE43-97A2-35D3F7A70178}"/>
              </a:ext>
            </a:extLst>
          </p:cNvPr>
          <p:cNvSpPr/>
          <p:nvPr/>
        </p:nvSpPr>
        <p:spPr>
          <a:xfrm rot="16200000">
            <a:off x="923020" y="3347990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AC63F9A5-F717-814B-AFFF-CB4F3F80118D}"/>
              </a:ext>
            </a:extLst>
          </p:cNvPr>
          <p:cNvSpPr/>
          <p:nvPr/>
        </p:nvSpPr>
        <p:spPr>
          <a:xfrm rot="16200000">
            <a:off x="923019" y="5331651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75B476A0-0AD2-4244-99F1-F5271259C85B}"/>
              </a:ext>
            </a:extLst>
          </p:cNvPr>
          <p:cNvSpPr/>
          <p:nvPr/>
        </p:nvSpPr>
        <p:spPr>
          <a:xfrm rot="16200000">
            <a:off x="923020" y="4000653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F882B6-D8EF-F644-8968-54F8DD43ECE2}"/>
              </a:ext>
            </a:extLst>
          </p:cNvPr>
          <p:cNvSpPr txBox="1"/>
          <p:nvPr/>
        </p:nvSpPr>
        <p:spPr>
          <a:xfrm>
            <a:off x="1548315" y="3293533"/>
            <a:ext cx="28672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IGN AND DAT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76B92A-C02F-AF46-9090-0AC4A1D8ADDE}"/>
              </a:ext>
            </a:extLst>
          </p:cNvPr>
          <p:cNvSpPr txBox="1"/>
          <p:nvPr/>
        </p:nvSpPr>
        <p:spPr>
          <a:xfrm>
            <a:off x="1548314" y="5335780"/>
            <a:ext cx="866851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UNICATION</a:t>
            </a:r>
            <a:endParaRPr lang="en-US" altLang="zh-TW" sz="2800" dirty="0">
              <a:solidFill>
                <a:schemeClr val="tx1">
                  <a:lumMod val="75000"/>
                  <a:lumOff val="25000"/>
                </a:schemeClr>
              </a:solidFill>
              <a:ea typeface="新細明體" panose="02020500000000000000" pitchFamily="18" charset="-120"/>
            </a:endParaRPr>
          </a:p>
        </p:txBody>
      </p:sp>
      <p:sp>
        <p:nvSpPr>
          <p:cNvPr id="58" name="Freeform 57">
            <a:extLst>
              <a:ext uri="{FF2B5EF4-FFF2-40B4-BE49-F238E27FC236}">
                <a16:creationId xmlns:a16="http://schemas.microsoft.com/office/drawing/2014/main" id="{1DB05781-CB85-6149-9B6B-2A567DA64C1A}"/>
              </a:ext>
            </a:extLst>
          </p:cNvPr>
          <p:cNvSpPr/>
          <p:nvPr/>
        </p:nvSpPr>
        <p:spPr>
          <a:xfrm rot="16200000">
            <a:off x="947403" y="4693992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6B0D8C9-5501-E34D-94F1-9F7A3CE37C77}"/>
              </a:ext>
            </a:extLst>
          </p:cNvPr>
          <p:cNvSpPr txBox="1"/>
          <p:nvPr/>
        </p:nvSpPr>
        <p:spPr>
          <a:xfrm>
            <a:off x="1605516" y="3972664"/>
            <a:ext cx="86974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 u="none" strike="noStrike" dirty="0">
                <a:solidFill>
                  <a:srgbClr val="24292F"/>
                </a:solidFill>
                <a:effectLst/>
                <a:latin typeface="-apple-system"/>
              </a:rPr>
              <a:t>ALGORITHMS</a:t>
            </a:r>
            <a:endParaRPr lang="en-SA" sz="28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D4F391-0FE3-ED4C-955D-9F6C33C0F9CC}"/>
              </a:ext>
            </a:extLst>
          </p:cNvPr>
          <p:cNvSpPr txBox="1"/>
          <p:nvPr/>
        </p:nvSpPr>
        <p:spPr>
          <a:xfrm>
            <a:off x="1584251" y="4653147"/>
            <a:ext cx="86974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0" u="none" strike="noStrike" dirty="0">
                <a:solidFill>
                  <a:srgbClr val="24292F"/>
                </a:solidFill>
                <a:effectLst/>
                <a:latin typeface="-apple-system"/>
              </a:rPr>
              <a:t>TOOLS</a:t>
            </a:r>
            <a:endParaRPr lang="en-SA" sz="2800" dirty="0"/>
          </a:p>
        </p:txBody>
      </p:sp>
    </p:spTree>
    <p:extLst>
      <p:ext uri="{BB962C8B-B14F-4D97-AF65-F5344CB8AC3E}">
        <p14:creationId xmlns:p14="http://schemas.microsoft.com/office/powerpoint/2010/main" val="2799868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81B7AB-31F6-D841-A5C6-C2B4C8C450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96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67269E-349E-5E47-A54E-A729A1570B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D1A76A-BF88-A64A-86EC-1811DE09E750}"/>
              </a:ext>
            </a:extLst>
          </p:cNvPr>
          <p:cNvSpPr/>
          <p:nvPr/>
        </p:nvSpPr>
        <p:spPr>
          <a:xfrm>
            <a:off x="0" y="1311351"/>
            <a:ext cx="12192000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CFECE1-71CE-E24D-A636-DA973E9DA1DD}"/>
              </a:ext>
            </a:extLst>
          </p:cNvPr>
          <p:cNvSpPr/>
          <p:nvPr/>
        </p:nvSpPr>
        <p:spPr>
          <a:xfrm>
            <a:off x="533400" y="2605535"/>
            <a:ext cx="11125200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5035047-BB0C-0542-A4D0-866342A311C5}"/>
              </a:ext>
            </a:extLst>
          </p:cNvPr>
          <p:cNvCxnSpPr>
            <a:cxnSpLocks/>
          </p:cNvCxnSpPr>
          <p:nvPr/>
        </p:nvCxnSpPr>
        <p:spPr>
          <a:xfrm>
            <a:off x="5823983" y="3037926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D9D99F6B-7677-664D-BC8E-A80CD3198AFE}"/>
              </a:ext>
            </a:extLst>
          </p:cNvPr>
          <p:cNvSpPr txBox="1"/>
          <p:nvPr/>
        </p:nvSpPr>
        <p:spPr>
          <a:xfrm>
            <a:off x="7123813" y="3599697"/>
            <a:ext cx="36576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/>
              <a:t>A </a:t>
            </a:r>
            <a:r>
              <a:rPr lang="en-US" sz="28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ent-based recommendation engine for movies and TV shows on Netflix is presented.</a:t>
            </a:r>
            <a:endParaRPr lang="en-SA" sz="28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1520EEE-A3BD-9940-9075-506C677CF501}"/>
              </a:ext>
            </a:extLst>
          </p:cNvPr>
          <p:cNvSpPr txBox="1"/>
          <p:nvPr/>
        </p:nvSpPr>
        <p:spPr>
          <a:xfrm>
            <a:off x="978194" y="3483013"/>
            <a:ext cx="3742662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loratory Data Analysis to know and describe the data in a better way through interactive graphs and visualizations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0C5E729-BCB4-694F-8F12-D624469E0681}"/>
              </a:ext>
            </a:extLst>
          </p:cNvPr>
          <p:cNvSpPr txBox="1"/>
          <p:nvPr/>
        </p:nvSpPr>
        <p:spPr>
          <a:xfrm>
            <a:off x="-276446" y="2760554"/>
            <a:ext cx="62094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DA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EAE05C2-270D-7842-8775-077EEC59A6D0}"/>
              </a:ext>
            </a:extLst>
          </p:cNvPr>
          <p:cNvSpPr txBox="1"/>
          <p:nvPr/>
        </p:nvSpPr>
        <p:spPr>
          <a:xfrm>
            <a:off x="6496492" y="2781818"/>
            <a:ext cx="4667692" cy="471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u="none" strike="noStrike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tent-Based Recommendation</a:t>
            </a:r>
            <a:endParaRPr lang="en-SA" sz="2400" dirty="0">
              <a:solidFill>
                <a:schemeClr val="bg1"/>
              </a:solidFill>
            </a:endParaRPr>
          </a:p>
        </p:txBody>
      </p:sp>
      <p:pic>
        <p:nvPicPr>
          <p:cNvPr id="82" name="Graphic 81" descr="Advertising with solid fill">
            <a:extLst>
              <a:ext uri="{FF2B5EF4-FFF2-40B4-BE49-F238E27FC236}">
                <a16:creationId xmlns:a16="http://schemas.microsoft.com/office/drawing/2014/main" id="{EE8F9BE7-D636-A04C-A441-9439AFC548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78912" y="1589567"/>
            <a:ext cx="914400" cy="914400"/>
          </a:xfrm>
          <a:prstGeom prst="rect">
            <a:avLst/>
          </a:prstGeom>
        </p:spPr>
      </p:pic>
      <p:pic>
        <p:nvPicPr>
          <p:cNvPr id="84" name="Graphic 83" descr="Angel face with solid fill with solid fill">
            <a:extLst>
              <a:ext uri="{FF2B5EF4-FFF2-40B4-BE49-F238E27FC236}">
                <a16:creationId xmlns:a16="http://schemas.microsoft.com/office/drawing/2014/main" id="{79D3162F-2CB3-084D-8E98-7647945E0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39469" y="1589568"/>
            <a:ext cx="914400" cy="9144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83EB026-E008-874F-918C-81145A1AA8A7}"/>
              </a:ext>
            </a:extLst>
          </p:cNvPr>
          <p:cNvSpPr txBox="1">
            <a:spLocks/>
          </p:cNvSpPr>
          <p:nvPr/>
        </p:nvSpPr>
        <p:spPr>
          <a:xfrm>
            <a:off x="476250" y="34925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zh-TW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RODUCTION</a:t>
            </a:r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300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CC6F94-76BC-C948-B5EC-DF7F7DB32C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43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" name="Picture 153">
            <a:extLst>
              <a:ext uri="{FF2B5EF4-FFF2-40B4-BE49-F238E27FC236}">
                <a16:creationId xmlns:a16="http://schemas.microsoft.com/office/drawing/2014/main" id="{7BEC25F9-FFC9-F24C-98CE-7BDF9521CF7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39" b="24317"/>
          <a:stretch/>
        </p:blipFill>
        <p:spPr>
          <a:xfrm>
            <a:off x="-1" y="1510553"/>
            <a:ext cx="12192002" cy="456303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B383686-1A58-7749-B3F0-D043DD52D9BD}"/>
              </a:ext>
            </a:extLst>
          </p:cNvPr>
          <p:cNvSpPr/>
          <p:nvPr/>
        </p:nvSpPr>
        <p:spPr>
          <a:xfrm>
            <a:off x="0" y="1315453"/>
            <a:ext cx="12192000" cy="474468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0" name="頁尾版面配置區 2">
            <a:extLst>
              <a:ext uri="{FF2B5EF4-FFF2-40B4-BE49-F238E27FC236}">
                <a16:creationId xmlns:a16="http://schemas.microsoft.com/office/drawing/2014/main" id="{F12DDCE4-FDD2-1148-8AED-F3BFB08B1964}"/>
              </a:ext>
            </a:extLst>
          </p:cNvPr>
          <p:cNvSpPr txBox="1">
            <a:spLocks/>
          </p:cNvSpPr>
          <p:nvPr/>
        </p:nvSpPr>
        <p:spPr>
          <a:xfrm>
            <a:off x="1339084" y="6336843"/>
            <a:ext cx="4914582" cy="45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Data Science Bootcamps for SDAIA Academy.</a:t>
            </a:r>
            <a:endParaRPr lang="en-US" altLang="en-US" dirty="0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9981B88-2AF2-5643-8221-60FFAF8274FB}"/>
              </a:ext>
            </a:extLst>
          </p:cNvPr>
          <p:cNvSpPr txBox="1"/>
          <p:nvPr/>
        </p:nvSpPr>
        <p:spPr>
          <a:xfrm>
            <a:off x="545433" y="1698141"/>
            <a:ext cx="1070008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 algn="just">
              <a:buFont typeface="Wingdings" pitchFamily="2" charset="2"/>
              <a:buChar char="§"/>
            </a:pPr>
            <a:r>
              <a:rPr lang="en-US" sz="3600" b="0" i="0" u="none" strike="noStrike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he project will be on predicting Netflix Movies and TV Shows based on personal history viewing using recommendation system.</a:t>
            </a:r>
            <a:endParaRPr lang="en-SA" sz="3600" dirty="0">
              <a:solidFill>
                <a:schemeClr val="bg1"/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01634AE-F6E5-FE48-9A75-CCE2EFCE232F}"/>
              </a:ext>
            </a:extLst>
          </p:cNvPr>
          <p:cNvSpPr txBox="1"/>
          <p:nvPr/>
        </p:nvSpPr>
        <p:spPr>
          <a:xfrm>
            <a:off x="521370" y="3518920"/>
            <a:ext cx="1070008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 algn="just">
              <a:buFont typeface="Wingdings" pitchFamily="2" charset="2"/>
              <a:buChar char="§"/>
            </a:pPr>
            <a:r>
              <a:rPr lang="en-US" sz="3600" dirty="0">
                <a:solidFill>
                  <a:schemeClr val="bg1"/>
                </a:solidFill>
              </a:rPr>
              <a:t>In order to help understand people preference and how Netflix generate similar catalog of movies and TV shows using genres, title, and release year as features.</a:t>
            </a:r>
            <a:endParaRPr lang="en-SA" sz="360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8F8E09D-2F0E-1446-82E6-767B567DC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altLang="zh-TW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918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4ABA83-CE6A-E342-9293-EAFC7FDE32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476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7378A70-E020-6E48-AC30-31E04BB5CF2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5D3C113D-1897-6943-812A-32F5526549F4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4B0424-29D8-4449-B28D-576F4956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321" y="2819500"/>
            <a:ext cx="1791346" cy="609398"/>
          </a:xfrm>
        </p:spPr>
        <p:txBody>
          <a:bodyPr lIns="0" tIns="0" rIns="0" bIns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57" name="頁尾版面配置區 2">
            <a:extLst>
              <a:ext uri="{FF2B5EF4-FFF2-40B4-BE49-F238E27FC236}">
                <a16:creationId xmlns:a16="http://schemas.microsoft.com/office/drawing/2014/main" id="{C40A0453-F62F-9646-A17B-9FBE0188B28D}"/>
              </a:ext>
            </a:extLst>
          </p:cNvPr>
          <p:cNvSpPr txBox="1">
            <a:spLocks/>
          </p:cNvSpPr>
          <p:nvPr/>
        </p:nvSpPr>
        <p:spPr>
          <a:xfrm>
            <a:off x="1339084" y="6336843"/>
            <a:ext cx="4914582" cy="45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Data Science Bootcamps for SDAIA Academy.</a:t>
            </a:r>
            <a:endParaRPr lang="en-US" altLang="en-US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833E94F-0722-8D48-812F-2D75697FAD24}"/>
              </a:ext>
            </a:extLst>
          </p:cNvPr>
          <p:cNvSpPr txBox="1"/>
          <p:nvPr/>
        </p:nvSpPr>
        <p:spPr>
          <a:xfrm>
            <a:off x="4056321" y="1191476"/>
            <a:ext cx="7767083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SA" b="1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EATURES</a:t>
            </a:r>
            <a:r>
              <a:rPr lang="en-SA" sz="1400" b="1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  <a:endParaRPr lang="en-SA" sz="1800" dirty="0">
              <a:solidFill>
                <a:schemeClr val="accent2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ow_id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nique id of each show 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ype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category of a show, can be either a Movie or a TV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itle: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ame of the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irector: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ame of the director(s) of the show 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ast: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ame of actors and other cast of the show 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untry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ame of countries the show is available to watch on Netflix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ate_added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ate when the show was added on Netflix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lease_year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lease year of the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ating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ow rating on netflix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uration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ime duration of the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isted_in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enre of the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Aft>
                <a:spcPts val="900"/>
              </a:spcAft>
              <a:buClr>
                <a:srgbClr val="24292F"/>
              </a:buClr>
              <a:buFont typeface="Wingdings" pitchFamily="2" charset="2"/>
              <a:buChar char=""/>
            </a:pPr>
            <a:r>
              <a:rPr lang="en-SA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escription</a:t>
            </a:r>
            <a:r>
              <a:rPr lang="en-SA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en-SA" sz="18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me text describing the show</a:t>
            </a:r>
            <a:endParaRPr lang="en-SA" sz="18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02D8806-A2B6-A74A-BA26-4D0339639EB9}"/>
              </a:ext>
            </a:extLst>
          </p:cNvPr>
          <p:cNvSpPr txBox="1"/>
          <p:nvPr/>
        </p:nvSpPr>
        <p:spPr>
          <a:xfrm>
            <a:off x="3912781" y="219095"/>
            <a:ext cx="80647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ATASET CONTAINS </a:t>
            </a:r>
            <a:r>
              <a:rPr lang="en-US" sz="24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2 COLUMNS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 EXPLORATORY ANALYSIS WITH</a:t>
            </a:r>
            <a:r>
              <a:rPr lang="en-SA" sz="2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r>
              <a:rPr lang="en-SA" sz="24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8807 RECORDS</a:t>
            </a:r>
            <a:endParaRPr lang="en-SA" sz="2400" b="1" dirty="0">
              <a:solidFill>
                <a:srgbClr val="C0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677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81B7AB-31F6-D841-A5C6-C2B4C8C450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81B7AB-31F6-D841-A5C6-C2B4C8C4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67269E-349E-5E47-A54E-A729A1570B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06B9C-F811-CB4C-84BC-CF57C3A59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GORITHM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D1A76A-BF88-A64A-86EC-1811DE09E750}"/>
              </a:ext>
            </a:extLst>
          </p:cNvPr>
          <p:cNvSpPr/>
          <p:nvPr/>
        </p:nvSpPr>
        <p:spPr>
          <a:xfrm>
            <a:off x="0" y="1311351"/>
            <a:ext cx="12192000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CFECE1-71CE-E24D-A636-DA973E9DA1DD}"/>
              </a:ext>
            </a:extLst>
          </p:cNvPr>
          <p:cNvSpPr/>
          <p:nvPr/>
        </p:nvSpPr>
        <p:spPr>
          <a:xfrm>
            <a:off x="533400" y="2605535"/>
            <a:ext cx="11125200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5035047-BB0C-0542-A4D0-866342A311C5}"/>
              </a:ext>
            </a:extLst>
          </p:cNvPr>
          <p:cNvCxnSpPr>
            <a:cxnSpLocks/>
          </p:cNvCxnSpPr>
          <p:nvPr/>
        </p:nvCxnSpPr>
        <p:spPr>
          <a:xfrm>
            <a:off x="5823985" y="301666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836A5CE-E378-8144-A9A6-D92A283828CD}"/>
              </a:ext>
            </a:extLst>
          </p:cNvPr>
          <p:cNvSpPr txBox="1"/>
          <p:nvPr/>
        </p:nvSpPr>
        <p:spPr>
          <a:xfrm>
            <a:off x="1913861" y="1726420"/>
            <a:ext cx="708729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CLEANING THE DATASET</a:t>
            </a:r>
            <a:endParaRPr lang="en-SA" sz="4000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F12CBD-9A80-2A44-99DE-6685CA250F12}"/>
              </a:ext>
            </a:extLst>
          </p:cNvPr>
          <p:cNvSpPr txBox="1"/>
          <p:nvPr/>
        </p:nvSpPr>
        <p:spPr>
          <a:xfrm>
            <a:off x="2849524" y="3589891"/>
            <a:ext cx="2211571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A" sz="3600" b="1" kern="1200" dirty="0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rPr>
              <a:t>dropna() </a:t>
            </a:r>
            <a:r>
              <a:rPr lang="en-SA" sz="3200" kern="1200" dirty="0">
                <a:solidFill>
                  <a:schemeClr val="accent4"/>
                </a:solidFill>
                <a:effectLst/>
                <a:latin typeface="+mn-lt"/>
                <a:ea typeface="+mn-ea"/>
                <a:cs typeface="+mn-cs"/>
              </a:rPr>
              <a:t>to drop any row with null value</a:t>
            </a:r>
            <a:endParaRPr lang="en-SA" sz="3600" dirty="0">
              <a:solidFill>
                <a:schemeClr val="accent4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5243405-22AF-504E-84C5-062BB4BFC150}"/>
              </a:ext>
            </a:extLst>
          </p:cNvPr>
          <p:cNvSpPr txBox="1"/>
          <p:nvPr/>
        </p:nvSpPr>
        <p:spPr>
          <a:xfrm>
            <a:off x="6698513" y="3526097"/>
            <a:ext cx="62094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A" sz="3600" b="1" dirty="0">
                <a:solidFill>
                  <a:schemeClr val="accent2"/>
                </a:solidFill>
              </a:rPr>
              <a:t>Imput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7B6FAEB-B396-F043-89D5-434D4AA439DA}"/>
              </a:ext>
            </a:extLst>
          </p:cNvPr>
          <p:cNvSpPr txBox="1"/>
          <p:nvPr/>
        </p:nvSpPr>
        <p:spPr>
          <a:xfrm>
            <a:off x="6783574" y="4227845"/>
            <a:ext cx="236042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A" sz="3200" dirty="0">
                <a:solidFill>
                  <a:schemeClr val="accent4"/>
                </a:solidFill>
              </a:rPr>
              <a:t>fillna</a:t>
            </a:r>
            <a:r>
              <a:rPr lang="en-SA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SA" sz="3200" dirty="0">
                <a:solidFill>
                  <a:schemeClr val="accent4"/>
                </a:solidFill>
              </a:rPr>
              <a:t>function</a:t>
            </a:r>
          </a:p>
        </p:txBody>
      </p:sp>
    </p:spTree>
    <p:extLst>
      <p:ext uri="{BB962C8B-B14F-4D97-AF65-F5344CB8AC3E}">
        <p14:creationId xmlns:p14="http://schemas.microsoft.com/office/powerpoint/2010/main" val="2625492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81B7AB-31F6-D841-A5C6-C2B4C8C450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81B7AB-31F6-D841-A5C6-C2B4C8C4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67269E-349E-5E47-A54E-A729A1570B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06B9C-F811-CB4C-84BC-CF57C3A59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GORITHM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D1A76A-BF88-A64A-86EC-1811DE09E750}"/>
              </a:ext>
            </a:extLst>
          </p:cNvPr>
          <p:cNvSpPr/>
          <p:nvPr/>
        </p:nvSpPr>
        <p:spPr>
          <a:xfrm>
            <a:off x="0" y="1311351"/>
            <a:ext cx="12192000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CFECE1-71CE-E24D-A636-DA973E9DA1DD}"/>
              </a:ext>
            </a:extLst>
          </p:cNvPr>
          <p:cNvSpPr/>
          <p:nvPr/>
        </p:nvSpPr>
        <p:spPr>
          <a:xfrm>
            <a:off x="533400" y="2605535"/>
            <a:ext cx="11125200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5035047-BB0C-0542-A4D0-866342A311C5}"/>
              </a:ext>
            </a:extLst>
          </p:cNvPr>
          <p:cNvCxnSpPr>
            <a:cxnSpLocks/>
          </p:cNvCxnSpPr>
          <p:nvPr/>
        </p:nvCxnSpPr>
        <p:spPr>
          <a:xfrm>
            <a:off x="3952654" y="310172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039C79B-8B76-B14E-B992-2BF512E6BBAE}"/>
              </a:ext>
            </a:extLst>
          </p:cNvPr>
          <p:cNvCxnSpPr>
            <a:cxnSpLocks/>
          </p:cNvCxnSpPr>
          <p:nvPr/>
        </p:nvCxnSpPr>
        <p:spPr>
          <a:xfrm>
            <a:off x="7984165" y="310172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836A5CE-E378-8144-A9A6-D92A283828CD}"/>
              </a:ext>
            </a:extLst>
          </p:cNvPr>
          <p:cNvSpPr txBox="1"/>
          <p:nvPr/>
        </p:nvSpPr>
        <p:spPr>
          <a:xfrm>
            <a:off x="0" y="1598830"/>
            <a:ext cx="75278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A" sz="4800" b="1" dirty="0">
                <a:solidFill>
                  <a:schemeClr val="bg1"/>
                </a:solidFill>
              </a:rPr>
              <a:t>Content-based Filtering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EBA784-66A0-4442-A03E-D3C6F4F71101}"/>
              </a:ext>
            </a:extLst>
          </p:cNvPr>
          <p:cNvSpPr txBox="1"/>
          <p:nvPr/>
        </p:nvSpPr>
        <p:spPr>
          <a:xfrm>
            <a:off x="8378457" y="3462299"/>
            <a:ext cx="35087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MinMaxScaler</a:t>
            </a:r>
            <a:r>
              <a:rPr lang="en-US" sz="2000" b="0" i="0" u="none" strike="noStrike" dirty="0">
                <a:solidFill>
                  <a:schemeClr val="accent4"/>
                </a:solidFill>
                <a:effectLst/>
                <a:latin typeface="Google Sans Text"/>
              </a:rPr>
              <a:t> </a:t>
            </a:r>
            <a:endParaRPr lang="en-SA" sz="3600" dirty="0">
              <a:solidFill>
                <a:schemeClr val="accent4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171932-7C44-2940-A075-196D77777AA1}"/>
              </a:ext>
            </a:extLst>
          </p:cNvPr>
          <p:cNvSpPr txBox="1"/>
          <p:nvPr/>
        </p:nvSpPr>
        <p:spPr>
          <a:xfrm>
            <a:off x="4086140" y="3482875"/>
            <a:ext cx="62020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A" sz="2400" b="1" kern="1200" dirty="0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rPr>
              <a:t>Nearest Neighbour Algorithm </a:t>
            </a:r>
            <a:endParaRPr lang="en-SA" sz="2400" b="1" dirty="0">
              <a:solidFill>
                <a:schemeClr val="accent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B641C8-22B5-6440-B480-C1B31CBD8F5A}"/>
              </a:ext>
            </a:extLst>
          </p:cNvPr>
          <p:cNvSpPr txBox="1"/>
          <p:nvPr/>
        </p:nvSpPr>
        <p:spPr>
          <a:xfrm>
            <a:off x="361505" y="4036457"/>
            <a:ext cx="350874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accent4"/>
                </a:solidFill>
              </a:rPr>
              <a:t>Uses similarities in features to make decisions</a:t>
            </a:r>
            <a:endParaRPr lang="en-SA" sz="3600" dirty="0">
              <a:solidFill>
                <a:schemeClr val="accent4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EF0A82-1254-9E46-AC26-D24BBB1B4EFC}"/>
              </a:ext>
            </a:extLst>
          </p:cNvPr>
          <p:cNvSpPr txBox="1"/>
          <p:nvPr/>
        </p:nvSpPr>
        <p:spPr>
          <a:xfrm>
            <a:off x="170121" y="3526097"/>
            <a:ext cx="39127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Recommender Systems</a:t>
            </a:r>
            <a:endParaRPr lang="en-SA" sz="2400" b="1" dirty="0">
              <a:solidFill>
                <a:schemeClr val="accent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F24FC66-4756-6347-8974-1848D5FD1E44}"/>
              </a:ext>
            </a:extLst>
          </p:cNvPr>
          <p:cNvSpPr txBox="1"/>
          <p:nvPr/>
        </p:nvSpPr>
        <p:spPr>
          <a:xfrm>
            <a:off x="4253022" y="3951400"/>
            <a:ext cx="357254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kern="1200" dirty="0">
                <a:solidFill>
                  <a:schemeClr val="accent4"/>
                </a:solidFill>
                <a:effectLst/>
                <a:latin typeface="+mn-lt"/>
                <a:ea typeface="+mn-ea"/>
                <a:cs typeface="+mn-cs"/>
              </a:rPr>
              <a:t>To </a:t>
            </a:r>
            <a:r>
              <a:rPr lang="en-SA" sz="3600" b="1" kern="1200" dirty="0">
                <a:solidFill>
                  <a:schemeClr val="accent4"/>
                </a:solidFill>
                <a:effectLst/>
                <a:latin typeface="+mn-lt"/>
                <a:ea typeface="+mn-ea"/>
                <a:cs typeface="+mn-cs"/>
              </a:rPr>
              <a:t>Calculate The “Distance” Between The Target </a:t>
            </a:r>
            <a:r>
              <a:rPr lang="en-US" sz="3600" b="1" kern="1200" dirty="0">
                <a:solidFill>
                  <a:schemeClr val="accent4"/>
                </a:solidFill>
                <a:effectLst/>
                <a:latin typeface="+mn-lt"/>
                <a:ea typeface="+mn-ea"/>
                <a:cs typeface="+mn-cs"/>
              </a:rPr>
              <a:t>Tv Show</a:t>
            </a:r>
            <a:r>
              <a:rPr lang="en-SA" sz="3600" b="1" kern="1200" dirty="0">
                <a:solidFill>
                  <a:schemeClr val="accent4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SA" sz="3600" b="1" dirty="0">
              <a:solidFill>
                <a:schemeClr val="accent4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8A9E02-8FC5-6346-B4E1-E7ADAC6CDBB8}"/>
              </a:ext>
            </a:extLst>
          </p:cNvPr>
          <p:cNvSpPr txBox="1"/>
          <p:nvPr/>
        </p:nvSpPr>
        <p:spPr>
          <a:xfrm>
            <a:off x="8102008" y="3908869"/>
            <a:ext cx="425302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i="0" u="none" strike="noStrike" dirty="0">
                <a:solidFill>
                  <a:schemeClr val="accent4"/>
                </a:solidFill>
                <a:effectLst/>
                <a:latin typeface="Google Sans Text"/>
              </a:rPr>
              <a:t>Transform features by scaling each feature to a given range</a:t>
            </a:r>
            <a:endParaRPr lang="en-SA" sz="36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636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81B7AB-31F6-D841-A5C6-C2B4C8C450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81B7AB-31F6-D841-A5C6-C2B4C8C4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67269E-349E-5E47-A54E-A729A1570B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D1A76A-BF88-A64A-86EC-1811DE09E750}"/>
              </a:ext>
            </a:extLst>
          </p:cNvPr>
          <p:cNvSpPr/>
          <p:nvPr/>
        </p:nvSpPr>
        <p:spPr>
          <a:xfrm>
            <a:off x="9781952" y="1311351"/>
            <a:ext cx="2410047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CFECE1-71CE-E24D-A636-DA973E9DA1DD}"/>
              </a:ext>
            </a:extLst>
          </p:cNvPr>
          <p:cNvSpPr/>
          <p:nvPr/>
        </p:nvSpPr>
        <p:spPr>
          <a:xfrm>
            <a:off x="8357190" y="2648065"/>
            <a:ext cx="3301409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29840C2-E287-B34F-9131-B55AD9061FF2}"/>
              </a:ext>
            </a:extLst>
          </p:cNvPr>
          <p:cNvCxnSpPr>
            <a:cxnSpLocks/>
          </p:cNvCxnSpPr>
          <p:nvPr/>
        </p:nvCxnSpPr>
        <p:spPr>
          <a:xfrm>
            <a:off x="9838661" y="3037927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A52E2410-3445-1F44-9328-B7929BA1AA36}"/>
              </a:ext>
            </a:extLst>
          </p:cNvPr>
          <p:cNvSpPr txBox="1">
            <a:spLocks/>
          </p:cNvSpPr>
          <p:nvPr/>
        </p:nvSpPr>
        <p:spPr>
          <a:xfrm>
            <a:off x="494413" y="324884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5400" dirty="0"/>
              <a:t>TOO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0E39D5-3C92-5348-99E3-F4C68C969CD4}"/>
              </a:ext>
            </a:extLst>
          </p:cNvPr>
          <p:cNvSpPr txBox="1"/>
          <p:nvPr/>
        </p:nvSpPr>
        <p:spPr>
          <a:xfrm>
            <a:off x="574157" y="1451367"/>
            <a:ext cx="7336465" cy="4161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3600" dirty="0"/>
              <a:t>NUMPY 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3600" dirty="0"/>
              <a:t>PANDAS 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3600" dirty="0"/>
              <a:t>MATPLOTLIB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3600" dirty="0"/>
              <a:t>SEABORN 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ü"/>
              <a:defRPr/>
            </a:pPr>
            <a:r>
              <a:rPr lang="en-US" sz="3600" dirty="0"/>
              <a:t>SKLEARN.LINEAR_MODEL</a:t>
            </a:r>
          </a:p>
        </p:txBody>
      </p:sp>
    </p:spTree>
    <p:extLst>
      <p:ext uri="{BB962C8B-B14F-4D97-AF65-F5344CB8AC3E}">
        <p14:creationId xmlns:p14="http://schemas.microsoft.com/office/powerpoint/2010/main" val="4075349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821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CF4802-B729-BC49-BE9E-BB1D233CF0B0}"/>
              </a:ext>
            </a:extLst>
          </p:cNvPr>
          <p:cNvSpPr/>
          <p:nvPr/>
        </p:nvSpPr>
        <p:spPr>
          <a:xfrm>
            <a:off x="990600" y="1524000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7506D0-86D2-0447-B46F-E77B6DAE2CF7}"/>
              </a:ext>
            </a:extLst>
          </p:cNvPr>
          <p:cNvSpPr/>
          <p:nvPr/>
        </p:nvSpPr>
        <p:spPr>
          <a:xfrm>
            <a:off x="533400" y="2019300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10081E-F1B5-3042-9953-CB0E331E4F08}"/>
              </a:ext>
            </a:extLst>
          </p:cNvPr>
          <p:cNvSpPr/>
          <p:nvPr/>
        </p:nvSpPr>
        <p:spPr>
          <a:xfrm>
            <a:off x="1528575" y="2107170"/>
            <a:ext cx="3766440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dirty="0">
                <a:solidFill>
                  <a:srgbClr val="151515"/>
                </a:solidFill>
                <a:latin typeface="Roboto" panose="020F0502020204030204" pitchFamily="34" charset="0"/>
              </a:rPr>
              <a:t>The most content type on Netflix is movie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897F3F7-FC93-5845-A376-5EC040CEF25E}"/>
              </a:ext>
            </a:extLst>
          </p:cNvPr>
          <p:cNvGrpSpPr/>
          <p:nvPr/>
        </p:nvGrpSpPr>
        <p:grpSpPr>
          <a:xfrm>
            <a:off x="746312" y="2259107"/>
            <a:ext cx="488576" cy="434788"/>
            <a:chOff x="3398838" y="1473201"/>
            <a:chExt cx="346076" cy="307975"/>
          </a:xfrm>
        </p:grpSpPr>
        <p:sp>
          <p:nvSpPr>
            <p:cNvPr id="43" name="Freeform 45">
              <a:extLst>
                <a:ext uri="{FF2B5EF4-FFF2-40B4-BE49-F238E27FC236}">
                  <a16:creationId xmlns:a16="http://schemas.microsoft.com/office/drawing/2014/main" id="{C1609903-49F3-4548-B584-58250BADA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46">
              <a:extLst>
                <a:ext uri="{FF2B5EF4-FFF2-40B4-BE49-F238E27FC236}">
                  <a16:creationId xmlns:a16="http://schemas.microsoft.com/office/drawing/2014/main" id="{C8D2CFB0-5E2D-7345-88DB-CD2D5E5A7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ACCCCE1-AA0E-3A40-8DAF-687D14D4907C}"/>
              </a:ext>
            </a:extLst>
          </p:cNvPr>
          <p:cNvGrpSpPr/>
          <p:nvPr/>
        </p:nvGrpSpPr>
        <p:grpSpPr>
          <a:xfrm>
            <a:off x="781937" y="4589345"/>
            <a:ext cx="417326" cy="400098"/>
            <a:chOff x="7726363" y="2909889"/>
            <a:chExt cx="346075" cy="331788"/>
          </a:xfrm>
        </p:grpSpPr>
        <p:sp>
          <p:nvSpPr>
            <p:cNvPr id="50" name="Freeform 59">
              <a:extLst>
                <a:ext uri="{FF2B5EF4-FFF2-40B4-BE49-F238E27FC236}">
                  <a16:creationId xmlns:a16="http://schemas.microsoft.com/office/drawing/2014/main" id="{CB4F6AA0-40BD-8340-8B3E-F6DF0A527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60">
              <a:extLst>
                <a:ext uri="{FF2B5EF4-FFF2-40B4-BE49-F238E27FC236}">
                  <a16:creationId xmlns:a16="http://schemas.microsoft.com/office/drawing/2014/main" id="{ABD299D6-C217-1A4B-B91F-C383F4182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61">
              <a:extLst>
                <a:ext uri="{FF2B5EF4-FFF2-40B4-BE49-F238E27FC236}">
                  <a16:creationId xmlns:a16="http://schemas.microsoft.com/office/drawing/2014/main" id="{12DF48D5-631E-1146-8E2B-6D18AF025D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62">
              <a:extLst>
                <a:ext uri="{FF2B5EF4-FFF2-40B4-BE49-F238E27FC236}">
                  <a16:creationId xmlns:a16="http://schemas.microsoft.com/office/drawing/2014/main" id="{05A97C75-D112-9642-AA6A-C6877FC080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63">
              <a:extLst>
                <a:ext uri="{FF2B5EF4-FFF2-40B4-BE49-F238E27FC236}">
                  <a16:creationId xmlns:a16="http://schemas.microsoft.com/office/drawing/2014/main" id="{57320B54-63F2-4242-80F8-703F25199A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64">
              <a:extLst>
                <a:ext uri="{FF2B5EF4-FFF2-40B4-BE49-F238E27FC236}">
                  <a16:creationId xmlns:a16="http://schemas.microsoft.com/office/drawing/2014/main" id="{CC627F04-487C-AA41-8598-73BBEB596D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378AA615-1521-5342-B28E-82B30D714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395C04A5-B67A-F940-9138-A0B78E8D7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67">
              <a:extLst>
                <a:ext uri="{FF2B5EF4-FFF2-40B4-BE49-F238E27FC236}">
                  <a16:creationId xmlns:a16="http://schemas.microsoft.com/office/drawing/2014/main" id="{945CD137-0027-1249-9DF1-028ACDC82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" name="Picture 9" descr="Chart, pie chart&#10;&#10;Description automatically generated">
            <a:extLst>
              <a:ext uri="{FF2B5EF4-FFF2-40B4-BE49-F238E27FC236}">
                <a16:creationId xmlns:a16="http://schemas.microsoft.com/office/drawing/2014/main" id="{19D85126-267E-D44E-9B0C-1FE03FB7D8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7179" y="825500"/>
            <a:ext cx="5003800" cy="520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42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.dje..5j1bgm_6VzoU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cS7V6RsVPtr9.KlR1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etflix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DB0605"/>
      </a:accent1>
      <a:accent2>
        <a:srgbClr val="740405"/>
      </a:accent2>
      <a:accent3>
        <a:srgbClr val="0C090D"/>
      </a:accent3>
      <a:accent4>
        <a:srgbClr val="424342"/>
      </a:accent4>
      <a:accent5>
        <a:srgbClr val="F1F2F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7</TotalTime>
  <Words>1262</Words>
  <Application>Microsoft Macintosh PowerPoint</Application>
  <PresentationFormat>Widescreen</PresentationFormat>
  <Paragraphs>119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-apple-system</vt:lpstr>
      <vt:lpstr>Arial</vt:lpstr>
      <vt:lpstr>Calibri</vt:lpstr>
      <vt:lpstr>Google Sans Text</vt:lpstr>
      <vt:lpstr>Open Sans</vt:lpstr>
      <vt:lpstr>Roboto</vt:lpstr>
      <vt:lpstr>Segoe UI</vt:lpstr>
      <vt:lpstr>Segoe UI Light</vt:lpstr>
      <vt:lpstr>Times New Roman</vt:lpstr>
      <vt:lpstr>Wingdings</vt:lpstr>
      <vt:lpstr>Office Theme</vt:lpstr>
      <vt:lpstr>think-cell Slide</vt:lpstr>
      <vt:lpstr>PowerPoint Presentation</vt:lpstr>
      <vt:lpstr>Outline</vt:lpstr>
      <vt:lpstr>PowerPoint Presentation</vt:lpstr>
      <vt:lpstr>DESIGN</vt:lpstr>
      <vt:lpstr>DATA</vt:lpstr>
      <vt:lpstr>ALGORITHMS</vt:lpstr>
      <vt:lpstr>ALGORITHMS</vt:lpstr>
      <vt:lpstr>PowerPoint Presentation</vt:lpstr>
      <vt:lpstr>CONCLUSIONS</vt:lpstr>
      <vt:lpstr>CONCLUSIONS</vt:lpstr>
      <vt:lpstr>CONCLUSIONS</vt:lpstr>
      <vt:lpstr>CONCLUSIONS</vt:lpstr>
      <vt:lpstr>CONCLUSION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Abdullah Alshehri</cp:lastModifiedBy>
  <cp:revision>228</cp:revision>
  <dcterms:created xsi:type="dcterms:W3CDTF">2019-08-16T12:08:31Z</dcterms:created>
  <dcterms:modified xsi:type="dcterms:W3CDTF">2021-12-15T14:40:50Z</dcterms:modified>
</cp:coreProperties>
</file>